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7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9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10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6" r:id="rId2"/>
    <p:sldMasterId id="2147483670" r:id="rId3"/>
    <p:sldMasterId id="2147483674" r:id="rId4"/>
    <p:sldMasterId id="2147483678" r:id="rId5"/>
    <p:sldMasterId id="2147483682" r:id="rId6"/>
    <p:sldMasterId id="2147483686" r:id="rId7"/>
    <p:sldMasterId id="2147483690" r:id="rId8"/>
    <p:sldMasterId id="2147483698" r:id="rId9"/>
    <p:sldMasterId id="2147483702" r:id="rId10"/>
  </p:sldMasterIdLst>
  <p:notesMasterIdLst>
    <p:notesMasterId r:id="rId14"/>
  </p:notesMasterIdLst>
  <p:handoutMasterIdLst>
    <p:handoutMasterId r:id="rId15"/>
  </p:handoutMasterIdLst>
  <p:sldIdLst>
    <p:sldId id="845" r:id="rId11"/>
    <p:sldId id="847" r:id="rId12"/>
    <p:sldId id="848" r:id="rId13"/>
  </p:sldIdLst>
  <p:sldSz cx="11950700" cy="6721475"/>
  <p:notesSz cx="9926638" cy="679767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91" kern="1200">
        <a:solidFill>
          <a:schemeClr val="tx1"/>
        </a:solidFill>
        <a:latin typeface="Arial" charset="0"/>
        <a:ea typeface="+mn-ea"/>
        <a:cs typeface="+mn-cs"/>
      </a:defRPr>
    </a:lvl1pPr>
    <a:lvl2pPr marL="597469" algn="l" rtl="0" fontAlgn="base">
      <a:spcBef>
        <a:spcPct val="0"/>
      </a:spcBef>
      <a:spcAft>
        <a:spcPct val="0"/>
      </a:spcAft>
      <a:defRPr sz="2091" kern="1200">
        <a:solidFill>
          <a:schemeClr val="tx1"/>
        </a:solidFill>
        <a:latin typeface="Arial" charset="0"/>
        <a:ea typeface="+mn-ea"/>
        <a:cs typeface="+mn-cs"/>
      </a:defRPr>
    </a:lvl2pPr>
    <a:lvl3pPr marL="1194938" algn="l" rtl="0" fontAlgn="base">
      <a:spcBef>
        <a:spcPct val="0"/>
      </a:spcBef>
      <a:spcAft>
        <a:spcPct val="0"/>
      </a:spcAft>
      <a:defRPr sz="2091" kern="1200">
        <a:solidFill>
          <a:schemeClr val="tx1"/>
        </a:solidFill>
        <a:latin typeface="Arial" charset="0"/>
        <a:ea typeface="+mn-ea"/>
        <a:cs typeface="+mn-cs"/>
      </a:defRPr>
    </a:lvl3pPr>
    <a:lvl4pPr marL="1792407" algn="l" rtl="0" fontAlgn="base">
      <a:spcBef>
        <a:spcPct val="0"/>
      </a:spcBef>
      <a:spcAft>
        <a:spcPct val="0"/>
      </a:spcAft>
      <a:defRPr sz="2091" kern="1200">
        <a:solidFill>
          <a:schemeClr val="tx1"/>
        </a:solidFill>
        <a:latin typeface="Arial" charset="0"/>
        <a:ea typeface="+mn-ea"/>
        <a:cs typeface="+mn-cs"/>
      </a:defRPr>
    </a:lvl4pPr>
    <a:lvl5pPr marL="2389876" algn="l" rtl="0" fontAlgn="base">
      <a:spcBef>
        <a:spcPct val="0"/>
      </a:spcBef>
      <a:spcAft>
        <a:spcPct val="0"/>
      </a:spcAft>
      <a:defRPr sz="2091" kern="1200">
        <a:solidFill>
          <a:schemeClr val="tx1"/>
        </a:solidFill>
        <a:latin typeface="Arial" charset="0"/>
        <a:ea typeface="+mn-ea"/>
        <a:cs typeface="+mn-cs"/>
      </a:defRPr>
    </a:lvl5pPr>
    <a:lvl6pPr marL="2987345" algn="l" defTabSz="1194938" rtl="0" eaLnBrk="1" latinLnBrk="0" hangingPunct="1">
      <a:defRPr sz="2091" kern="1200">
        <a:solidFill>
          <a:schemeClr val="tx1"/>
        </a:solidFill>
        <a:latin typeface="Arial" charset="0"/>
        <a:ea typeface="+mn-ea"/>
        <a:cs typeface="+mn-cs"/>
      </a:defRPr>
    </a:lvl6pPr>
    <a:lvl7pPr marL="3584814" algn="l" defTabSz="1194938" rtl="0" eaLnBrk="1" latinLnBrk="0" hangingPunct="1">
      <a:defRPr sz="2091" kern="1200">
        <a:solidFill>
          <a:schemeClr val="tx1"/>
        </a:solidFill>
        <a:latin typeface="Arial" charset="0"/>
        <a:ea typeface="+mn-ea"/>
        <a:cs typeface="+mn-cs"/>
      </a:defRPr>
    </a:lvl7pPr>
    <a:lvl8pPr marL="4182283" algn="l" defTabSz="1194938" rtl="0" eaLnBrk="1" latinLnBrk="0" hangingPunct="1">
      <a:defRPr sz="2091" kern="1200">
        <a:solidFill>
          <a:schemeClr val="tx1"/>
        </a:solidFill>
        <a:latin typeface="Arial" charset="0"/>
        <a:ea typeface="+mn-ea"/>
        <a:cs typeface="+mn-cs"/>
      </a:defRPr>
    </a:lvl8pPr>
    <a:lvl9pPr marL="4779752" algn="l" defTabSz="1194938" rtl="0" eaLnBrk="1" latinLnBrk="0" hangingPunct="1">
      <a:defRPr sz="209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9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71" userDrawn="1">
          <p15:clr>
            <a:srgbClr val="A4A3A4"/>
          </p15:clr>
        </p15:guide>
        <p15:guide id="2" pos="3026" userDrawn="1">
          <p15:clr>
            <a:srgbClr val="A4A3A4"/>
          </p15:clr>
        </p15:guide>
        <p15:guide id="3" orient="horz" pos="2142" userDrawn="1">
          <p15:clr>
            <a:srgbClr val="A4A3A4"/>
          </p15:clr>
        </p15:guide>
        <p15:guide id="4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89C8"/>
    <a:srgbClr val="3E3E3E"/>
    <a:srgbClr val="4B4B4B"/>
    <a:srgbClr val="333333"/>
    <a:srgbClr val="0C0F2E"/>
    <a:srgbClr val="075082"/>
    <a:srgbClr val="5FC9BB"/>
    <a:srgbClr val="91DBBB"/>
    <a:srgbClr val="EAEAEA"/>
    <a:srgbClr val="0065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33" autoAdjust="0"/>
    <p:restoredTop sz="93895" autoAdjust="0"/>
  </p:normalViewPr>
  <p:slideViewPr>
    <p:cSldViewPr snapToGrid="0" snapToObjects="1">
      <p:cViewPr>
        <p:scale>
          <a:sx n="140" d="100"/>
          <a:sy n="140" d="100"/>
        </p:scale>
        <p:origin x="1856" y="1024"/>
      </p:cViewPr>
      <p:guideLst>
        <p:guide orient="horz" pos="329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2271"/>
        <p:guide pos="3026"/>
        <p:guide orient="horz" pos="214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" Target="slides/slide1.xml"/><Relationship Id="rId12" Type="http://schemas.openxmlformats.org/officeDocument/2006/relationships/slide" Target="slides/slide2.xml"/><Relationship Id="rId13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4" Type="http://schemas.openxmlformats.org/officeDocument/2006/relationships/image" Target="../media/image19.emf"/><Relationship Id="rId1" Type="http://schemas.openxmlformats.org/officeDocument/2006/relationships/image" Target="../media/image16.emf"/><Relationship Id="rId2" Type="http://schemas.openxmlformats.org/officeDocument/2006/relationships/image" Target="../media/image1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06638" y="425450"/>
            <a:ext cx="5321300" cy="29940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03856" y="3652664"/>
            <a:ext cx="845914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58741" y="6479020"/>
            <a:ext cx="78749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646166" y="3703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170043" rtl="0" eaLnBrk="0" fontAlgn="base" hangingPunct="0">
      <a:spcBef>
        <a:spcPct val="0"/>
      </a:spcBef>
      <a:spcAft>
        <a:spcPct val="0"/>
      </a:spcAft>
      <a:buClr>
        <a:schemeClr val="tx2"/>
      </a:buClr>
      <a:defRPr sz="2091" kern="1200">
        <a:solidFill>
          <a:schemeClr val="tx1"/>
        </a:solidFill>
        <a:latin typeface="Arial" charset="0"/>
        <a:ea typeface="+mn-ea"/>
        <a:cs typeface="+mn-cs"/>
      </a:defRPr>
    </a:lvl1pPr>
    <a:lvl2pPr marL="153516" indent="-151442" algn="l" defTabSz="117004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2091" kern="1200">
        <a:solidFill>
          <a:schemeClr val="tx1"/>
        </a:solidFill>
        <a:latin typeface="Arial" charset="0"/>
        <a:ea typeface="+mn-ea"/>
        <a:cs typeface="+mn-cs"/>
      </a:defRPr>
    </a:lvl2pPr>
    <a:lvl3pPr marL="392090" indent="-236498" algn="l" defTabSz="117004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2091" kern="1200">
        <a:solidFill>
          <a:schemeClr val="tx1"/>
        </a:solidFill>
        <a:latin typeface="Arial" charset="0"/>
        <a:ea typeface="+mn-ea"/>
        <a:cs typeface="+mn-cs"/>
      </a:defRPr>
    </a:lvl3pPr>
    <a:lvl4pPr marL="558053" indent="-163890" algn="l" defTabSz="117004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2091" kern="1200">
        <a:solidFill>
          <a:schemeClr val="tx1"/>
        </a:solidFill>
        <a:latin typeface="Arial" charset="0"/>
        <a:ea typeface="+mn-ea"/>
        <a:cs typeface="+mn-cs"/>
      </a:defRPr>
    </a:lvl4pPr>
    <a:lvl5pPr marL="709494" indent="-149367" algn="l" defTabSz="117004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2091" kern="1200">
        <a:solidFill>
          <a:schemeClr val="tx1"/>
        </a:solidFill>
        <a:latin typeface="Arial" charset="0"/>
        <a:ea typeface="+mn-ea"/>
        <a:cs typeface="+mn-cs"/>
      </a:defRPr>
    </a:lvl5pPr>
    <a:lvl6pPr marL="2987345" algn="l" defTabSz="1194938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6pPr>
    <a:lvl7pPr marL="3584814" algn="l" defTabSz="1194938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7pPr>
    <a:lvl8pPr marL="4182283" algn="l" defTabSz="1194938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8pPr>
    <a:lvl9pPr marL="4779752" algn="l" defTabSz="1194938" rtl="0" eaLnBrk="1" latinLnBrk="0" hangingPunct="1">
      <a:defRPr sz="156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06638" y="425450"/>
            <a:ext cx="5321300" cy="2994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692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3.vml"/><Relationship Id="rId2" Type="http://schemas.openxmlformats.org/officeDocument/2006/relationships/tags" Target="../tags/tag2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15.vml"/><Relationship Id="rId2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18.vml"/><Relationship Id="rId2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9.vml"/><Relationship Id="rId2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21.vml"/><Relationship Id="rId2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22.vml"/><Relationship Id="rId2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2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4.vml"/><Relationship Id="rId2" Type="http://schemas.openxmlformats.org/officeDocument/2006/relationships/tags" Target="../tags/tag6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8.emf"/><Relationship Id="rId1" Type="http://schemas.openxmlformats.org/officeDocument/2006/relationships/vmlDrawing" Target="../drawings/vmlDrawing25.vml"/><Relationship Id="rId2" Type="http://schemas.openxmlformats.org/officeDocument/2006/relationships/tags" Target="../tags/tag6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tags" Target="../tags/tag68.xml"/><Relationship Id="rId5" Type="http://schemas.openxmlformats.org/officeDocument/2006/relationships/slideMaster" Target="../slideMasters/slideMaster8.xml"/><Relationship Id="rId6" Type="http://schemas.openxmlformats.org/officeDocument/2006/relationships/oleObject" Target="../embeddings/oleObject2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6.vml"/><Relationship Id="rId2" Type="http://schemas.openxmlformats.org/officeDocument/2006/relationships/tags" Target="../tags/tag6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27.vml"/><Relationship Id="rId2" Type="http://schemas.openxmlformats.org/officeDocument/2006/relationships/tags" Target="../tags/tag6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2.emf"/><Relationship Id="rId6" Type="http://schemas.openxmlformats.org/officeDocument/2006/relationships/image" Target="../media/image10.jpeg"/><Relationship Id="rId7" Type="http://schemas.openxmlformats.org/officeDocument/2006/relationships/image" Target="../media/image11.png"/><Relationship Id="rId1" Type="http://schemas.openxmlformats.org/officeDocument/2006/relationships/vmlDrawing" Target="../drawings/vmlDrawing28.vml"/><Relationship Id="rId2" Type="http://schemas.openxmlformats.org/officeDocument/2006/relationships/tags" Target="../tags/tag7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12.emf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9.vml"/><Relationship Id="rId2" Type="http://schemas.openxmlformats.org/officeDocument/2006/relationships/tags" Target="../tags/tag7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30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30.vml"/><Relationship Id="rId2" Type="http://schemas.openxmlformats.org/officeDocument/2006/relationships/tags" Target="../tags/tag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3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32.vml"/><Relationship Id="rId2" Type="http://schemas.openxmlformats.org/officeDocument/2006/relationships/tags" Target="../tags/tag9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tags" Target="../tags/tag93.xml"/><Relationship Id="rId2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4" Type="http://schemas.openxmlformats.org/officeDocument/2006/relationships/slideMaster" Target="../slideMasters/slideMaster9.xml"/><Relationship Id="rId1" Type="http://schemas.openxmlformats.org/officeDocument/2006/relationships/tags" Target="../tags/tag94.xml"/><Relationship Id="rId2" Type="http://schemas.openxmlformats.org/officeDocument/2006/relationships/tags" Target="../tags/tag9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image" Target="../media/image15.jpg"/><Relationship Id="rId5" Type="http://schemas.openxmlformats.org/officeDocument/2006/relationships/oleObject" Target="../embeddings/oleObject3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34.vml"/><Relationship Id="rId2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tags" Target="../tags/tag130.xml"/><Relationship Id="rId2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tags" Target="../tags/tag131.xml"/><Relationship Id="rId2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7" Type="http://schemas.openxmlformats.org/officeDocument/2006/relationships/image" Target="../media/image3.emf"/><Relationship Id="rId8" Type="http://schemas.openxmlformats.org/officeDocument/2006/relationships/image" Target="../media/image4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037799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1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baseline="0" noProof="0" dirty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aseline="0" noProof="0">
                <a:latin typeface="+mn-lt"/>
              </a:rPr>
              <a:t>Last Modified 10/22/2018 1:48 PM Central European Standard Time</a:t>
            </a:r>
            <a:endParaRPr lang="en-US" sz="689" baseline="0" noProof="0" dirty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aseline="0" noProof="0" dirty="0">
                <a:latin typeface="+mn-lt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baseline="0" noProof="0" dirty="0">
                <a:latin typeface="+mn-lt"/>
              </a:rPr>
              <a:t>CONFIDENTIAL AND PROPRIETARY</a:t>
            </a:r>
          </a:p>
          <a:p>
            <a:pPr defTabSz="615881" eaLnBrk="0" hangingPunct="0"/>
            <a:r>
              <a:rPr lang="en-US" sz="612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baseline="0" noProof="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chemeClr val="tx1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9121620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0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68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605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300788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3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9277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2474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380311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68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355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336517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7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24740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22114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839652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68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913217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321782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16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755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5341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724497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4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68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598821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883966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44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12" smtClean="0">
                <a:solidFill>
                  <a:schemeClr val="bg1">
                    <a:lumMod val="50000"/>
                  </a:schemeClr>
                </a:solidFill>
              </a:rPr>
              <a:pPr lvl="0"/>
              <a:t>‹#›</a:t>
            </a:fld>
            <a:endParaRPr lang="en-US" sz="612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baseline="0" noProof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375601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37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40067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77994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423075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7991707" y="6287539"/>
            <a:ext cx="372065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7991707" y="6410649"/>
            <a:ext cx="395899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Last Modified 10/22/2018 1:48 PM Central European Standard Time</a:t>
            </a:r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7991707" y="6533761"/>
            <a:ext cx="372065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FFFFFF"/>
                </a:solidFill>
                <a:latin typeface="+mn-lt"/>
              </a:rPr>
              <a:t>Printed 30.06.2017 14:20 W. Europe Standard Time</a:t>
            </a:r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892" y="1434419"/>
            <a:ext cx="8310355" cy="37689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2" y="3119080"/>
            <a:ext cx="8310355" cy="1647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2" y="3632875"/>
            <a:ext cx="8310355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60546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24891" y="150653"/>
            <a:ext cx="2903151" cy="238074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24891" y="6468487"/>
            <a:ext cx="4726774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615881" eaLnBrk="0" hangingPunct="0"/>
            <a:r>
              <a:rPr lang="en-US" sz="612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615881" eaLnBrk="0" hangingPunct="0"/>
            <a:r>
              <a:rPr lang="en-US" sz="612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6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baseline="0" noProof="0" dirty="0">
                <a:latin typeface="+mn-lt"/>
              </a:rPr>
              <a:t>Document type</a:t>
            </a:r>
          </a:p>
        </p:txBody>
      </p:sp>
      <p:sp>
        <p:nvSpPr>
          <p:cNvPr id="17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baseline="0" noProof="0" dirty="0">
                <a:latin typeface="+mn-lt"/>
              </a:rPr>
              <a:t>Date</a:t>
            </a:r>
          </a:p>
        </p:txBody>
      </p:sp>
      <p:sp>
        <p:nvSpPr>
          <p:cNvPr id="18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baseline="0" noProof="0" dirty="0">
                <a:latin typeface="+mn-lt"/>
              </a:rPr>
              <a:t>CONFIDENTIAL AND PROPRIETARY</a:t>
            </a:r>
          </a:p>
          <a:p>
            <a:pPr defTabSz="615881" eaLnBrk="0" hangingPunct="0"/>
            <a:r>
              <a:rPr lang="en-US" sz="612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9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baseline="0" noProof="0" dirty="0">
              <a:latin typeface="+mn-lt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baseline="0" noProof="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3112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3784771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3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874651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195" userDrawn="1">
          <p15:clr>
            <a:srgbClr val="F26B43"/>
          </p15:clr>
        </p15:guide>
        <p15:guide id="2" pos="97" userDrawn="1">
          <p15:clr>
            <a:srgbClr val="F26B43"/>
          </p15:clr>
        </p15:guide>
        <p15:guide id="3" orient="horz" pos="746" userDrawn="1">
          <p15:clr>
            <a:srgbClr val="F26B43"/>
          </p15:clr>
        </p15:guide>
        <p15:guide id="4" orient="horz" pos="51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38863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9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chemeClr val="bg1"/>
                </a:solidFill>
              </a:rPr>
              <a:pPr/>
              <a:t>‹#›</a:t>
            </a:fld>
            <a:endParaRPr lang="en-US" sz="612" dirty="0">
              <a:solidFill>
                <a:schemeClr val="bg1"/>
              </a:solidFill>
            </a:endParaRPr>
          </a:p>
        </p:txBody>
      </p:sp>
      <p:sp>
        <p:nvSpPr>
          <p:cNvPr id="9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chemeClr val="bg1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6427146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99" userDrawn="1">
          <p15:clr>
            <a:srgbClr val="000000"/>
          </p15:clr>
        </p15:guide>
        <p15:guide id="2" orient="horz" pos="745" userDrawn="1">
          <p15:clr>
            <a:srgbClr val="000000"/>
          </p15:clr>
        </p15:guide>
        <p15:guide id="3" orient="horz" pos="5112" userDrawn="1">
          <p15:clr>
            <a:srgbClr val="000000"/>
          </p15:clr>
        </p15:guide>
        <p15:guide id="4" pos="94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325319E-26AE-4B23-9210-FFA2D339E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395974"/>
              </p:ext>
            </p:extLst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37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79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2444824"/>
              </p:ext>
            </p:extLst>
          </p:nvPr>
        </p:nvGraphicFramePr>
        <p:xfrm>
          <a:off x="2119" y="159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3603668" y="1"/>
            <a:ext cx="8347029" cy="6721475"/>
          </a:xfrm>
          <a:prstGeom prst="rect">
            <a:avLst/>
          </a:prstGeom>
        </p:spPr>
      </p:pic>
      <p:sp>
        <p:nvSpPr>
          <p:cNvPr id="15" name="Freeform 406"/>
          <p:cNvSpPr>
            <a:spLocks/>
          </p:cNvSpPr>
          <p:nvPr/>
        </p:nvSpPr>
        <p:spPr bwMode="auto">
          <a:xfrm>
            <a:off x="9315811" y="2548709"/>
            <a:ext cx="2634889" cy="4172766"/>
          </a:xfrm>
          <a:custGeom>
            <a:avLst/>
            <a:gdLst>
              <a:gd name="T0" fmla="*/ 1665 w 1665"/>
              <a:gd name="T1" fmla="*/ 0 h 2839"/>
              <a:gd name="T2" fmla="*/ 0 w 1665"/>
              <a:gd name="T3" fmla="*/ 2839 h 2839"/>
              <a:gd name="T4" fmla="*/ 1665 w 1665"/>
              <a:gd name="T5" fmla="*/ 2839 h 2839"/>
              <a:gd name="T6" fmla="*/ 1665 w 1665"/>
              <a:gd name="T7" fmla="*/ 0 h 2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65" h="2839">
                <a:moveTo>
                  <a:pt x="1665" y="0"/>
                </a:moveTo>
                <a:lnTo>
                  <a:pt x="0" y="2839"/>
                </a:lnTo>
                <a:lnTo>
                  <a:pt x="1665" y="2839"/>
                </a:lnTo>
                <a:lnTo>
                  <a:pt x="166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51432" tIns="25716" rIns="51432" bIns="25716" numCol="1" anchor="t" anchorCtr="0" compatLnSpc="1">
            <a:prstTxWarp prst="textNoShape">
              <a:avLst/>
            </a:prstTxWarp>
          </a:bodyPr>
          <a:lstStyle/>
          <a:p>
            <a:pPr defTabSz="514331"/>
            <a:endParaRPr lang="en-US" sz="918">
              <a:solidFill>
                <a:srgbClr val="000000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" y="-8440"/>
            <a:ext cx="7618805" cy="6729919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92"/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393537" y="-8441"/>
            <a:ext cx="3022044" cy="5228141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60547" y="36516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75551" y="231863"/>
            <a:ext cx="5462487" cy="34971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2525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75552" y="3410713"/>
            <a:ext cx="3631857" cy="12356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172"/>
              </a:spcAft>
              <a:defRPr lang="x-none" sz="803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75551" y="6062472"/>
            <a:ext cx="3017413" cy="38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459" dirty="0">
                <a:solidFill>
                  <a:schemeClr val="bg1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52" y="5457238"/>
            <a:ext cx="2652567" cy="328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66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pac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869358"/>
              </p:ext>
            </p:extLst>
          </p:nvPr>
        </p:nvGraphicFramePr>
        <p:xfrm>
          <a:off x="1588" y="1591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4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" y="-3275"/>
            <a:ext cx="11938890" cy="6728032"/>
          </a:xfrm>
          <a:prstGeom prst="rect">
            <a:avLst/>
          </a:prstGeom>
        </p:spPr>
      </p:pic>
      <p:sp>
        <p:nvSpPr>
          <p:cNvPr id="9" name="Freeform 8"/>
          <p:cNvSpPr/>
          <p:nvPr/>
        </p:nvSpPr>
        <p:spPr>
          <a:xfrm>
            <a:off x="-1048" y="318"/>
            <a:ext cx="11952795" cy="6720840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8" dirty="0" err="1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0121739" y="2"/>
            <a:ext cx="1828963" cy="423052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18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552" y="1619250"/>
            <a:ext cx="9120573" cy="823944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/>
        </p:nvSpPr>
        <p:spPr bwMode="gray">
          <a:xfrm>
            <a:off x="11421440" y="6534499"/>
            <a:ext cx="70532" cy="7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459" smtClean="0">
                <a:solidFill>
                  <a:schemeClr val="accent2"/>
                </a:solidFill>
              </a:rPr>
              <a:pPr lvl="0"/>
              <a:t>‹#›</a:t>
            </a:fld>
            <a:endParaRPr lang="x-none" sz="459" dirty="0">
              <a:solidFill>
                <a:schemeClr val="accent2"/>
              </a:solidFill>
            </a:endParaRPr>
          </a:p>
        </p:txBody>
      </p:sp>
      <p:sp>
        <p:nvSpPr>
          <p:cNvPr id="15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714947" y="6534499"/>
            <a:ext cx="572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56"/>
            <a:r>
              <a:rPr lang="en-US" sz="459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553" y="230190"/>
            <a:ext cx="9120572" cy="235449"/>
          </a:xfrm>
        </p:spPr>
        <p:txBody>
          <a:bodyPr wrap="square">
            <a:spAutoFit/>
          </a:bodyPr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9033" y="50802"/>
            <a:ext cx="1166566" cy="52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513842"/>
            <a:endParaRPr lang="x-none" sz="34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6878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129" userDrawn="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e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905818"/>
              </p:ext>
            </p:extLst>
          </p:nvPr>
        </p:nvGraphicFramePr>
        <p:xfrm>
          <a:off x="1588" y="1591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6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/>
        </p:nvSpPr>
        <p:spPr>
          <a:xfrm>
            <a:off x="8980613" y="2"/>
            <a:ext cx="3004390" cy="5948207"/>
          </a:xfrm>
          <a:custGeom>
            <a:avLst/>
            <a:gdLst>
              <a:gd name="connsiteX0" fmla="*/ 3111190 w 3111190"/>
              <a:gd name="connsiteY0" fmla="*/ 6077415 h 6077415"/>
              <a:gd name="connsiteX1" fmla="*/ 0 w 3111190"/>
              <a:gd name="connsiteY1" fmla="*/ 780585 h 6077415"/>
              <a:gd name="connsiteX2" fmla="*/ 0 w 3111190"/>
              <a:gd name="connsiteY2" fmla="*/ 0 h 6077415"/>
              <a:gd name="connsiteX3" fmla="*/ 3055434 w 3111190"/>
              <a:gd name="connsiteY3" fmla="*/ 0 h 6077415"/>
              <a:gd name="connsiteX4" fmla="*/ 3055434 w 3111190"/>
              <a:gd name="connsiteY4" fmla="*/ 6066263 h 6077415"/>
              <a:gd name="connsiteX0" fmla="*/ 3065051 w 3065051"/>
              <a:gd name="connsiteY0" fmla="*/ 6069026 h 6069026"/>
              <a:gd name="connsiteX1" fmla="*/ 0 w 3065051"/>
              <a:gd name="connsiteY1" fmla="*/ 780585 h 6069026"/>
              <a:gd name="connsiteX2" fmla="*/ 0 w 3065051"/>
              <a:gd name="connsiteY2" fmla="*/ 0 h 6069026"/>
              <a:gd name="connsiteX3" fmla="*/ 3055434 w 3065051"/>
              <a:gd name="connsiteY3" fmla="*/ 0 h 6069026"/>
              <a:gd name="connsiteX4" fmla="*/ 3055434 w 3065051"/>
              <a:gd name="connsiteY4" fmla="*/ 6066263 h 6069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051" h="6069026">
                <a:moveTo>
                  <a:pt x="3065051" y="6069026"/>
                </a:moveTo>
                <a:lnTo>
                  <a:pt x="0" y="780585"/>
                </a:lnTo>
                <a:lnTo>
                  <a:pt x="0" y="0"/>
                </a:lnTo>
                <a:lnTo>
                  <a:pt x="3055434" y="0"/>
                </a:lnTo>
                <a:lnTo>
                  <a:pt x="3055434" y="6066263"/>
                </a:lnTo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92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gray">
          <a:xfrm>
            <a:off x="11421440" y="6534499"/>
            <a:ext cx="70532" cy="7066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459" smtClean="0">
                <a:solidFill>
                  <a:schemeClr val="accent2"/>
                </a:solidFill>
              </a:rPr>
              <a:pPr lvl="0"/>
              <a:t>‹#›</a:t>
            </a:fld>
            <a:endParaRPr lang="x-none" sz="459" dirty="0">
              <a:solidFill>
                <a:schemeClr val="accent2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714947" y="6534499"/>
            <a:ext cx="572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56"/>
            <a:r>
              <a:rPr lang="en-US" sz="459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552" y="1619250"/>
            <a:ext cx="9120573" cy="823944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459033" y="50802"/>
            <a:ext cx="1166566" cy="52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513842"/>
            <a:endParaRPr lang="x-none" sz="34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985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129" userDrawn="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7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3" y="-1"/>
            <a:ext cx="9170617" cy="3967883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041281"/>
              </p:ext>
            </p:extLst>
          </p:nvPr>
        </p:nvGraphicFramePr>
        <p:xfrm>
          <a:off x="2119" y="159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4" y="36514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16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5" y="6377192"/>
            <a:ext cx="374026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612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6" y="6500304"/>
            <a:ext cx="35473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0"/>
            <a:ext cx="8310355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80"/>
            <a:ext cx="8310355" cy="1647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634800"/>
            <a:ext cx="8310355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71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5"/>
            <a:ext cx="2177268" cy="238074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4" y="6254081"/>
            <a:ext cx="5121196" cy="358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821216" eaLnBrk="0" hangingPunct="0"/>
            <a:r>
              <a:rPr lang="en-US" sz="612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70906"/>
              </p:ext>
            </p:extLst>
          </p:nvPr>
        </p:nvGraphicFramePr>
        <p:xfrm>
          <a:off x="2076" y="2076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2076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351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90"/>
            <a:ext cx="11493417" cy="282513"/>
          </a:xfrm>
        </p:spPr>
        <p:txBody>
          <a:bodyPr/>
          <a:lstStyle>
            <a:lvl1pPr>
              <a:defRPr sz="1836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22733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12" smtClean="0">
                <a:solidFill>
                  <a:schemeClr val="accent6"/>
                </a:solidFill>
              </a:rPr>
              <a:pPr lvl="0"/>
              <a:t>‹#›</a:t>
            </a:fld>
            <a:endParaRPr lang="en-US" sz="612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517779" y="6522733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42"/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3" y="50803"/>
            <a:ext cx="1207188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1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2" y="-495300"/>
            <a:ext cx="184731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224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9593" userDrawn="1">
          <p15:clr>
            <a:srgbClr val="F26B43"/>
          </p15:clr>
        </p15:guide>
        <p15:guide id="2" pos="129" userDrawn="1">
          <p15:clr>
            <a:srgbClr val="F26B43"/>
          </p15:clr>
        </p15:guide>
        <p15:guide id="3" orient="horz" pos="899" userDrawn="1">
          <p15:clr>
            <a:srgbClr val="F26B43"/>
          </p15:clr>
        </p15:guide>
        <p15:guide id="4" orient="horz" pos="5111" userDrawn="1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22733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612" smtClean="0">
                <a:solidFill>
                  <a:schemeClr val="bg1"/>
                </a:solidFill>
              </a:rPr>
              <a:pPr lvl="0"/>
              <a:t>‹#›</a:t>
            </a:fld>
            <a:endParaRPr lang="en-US" sz="612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517779" y="6522733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42"/>
            <a:r>
              <a:rPr lang="en-US" sz="612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3" y="50803"/>
            <a:ext cx="1207188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chemeClr val="bg1"/>
                </a:solidFill>
              </a:rPr>
              <a:pPr/>
              <a:t>‹#›</a:t>
            </a:fld>
            <a:endParaRPr lang="en-US" sz="612" dirty="0">
              <a:solidFill>
                <a:schemeClr val="bg1"/>
              </a:solidFill>
            </a:endParaRP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chemeClr val="bg1"/>
                </a:solidFill>
                <a:latin typeface="Arial"/>
              </a:rPr>
              <a:t>|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6545" userDrawn="1">
          <p15:clr>
            <a:srgbClr val="000000"/>
          </p15:clr>
        </p15:guide>
        <p15:guide id="2" orient="horz" pos="745" userDrawn="1">
          <p15:clr>
            <a:srgbClr val="000000"/>
          </p15:clr>
        </p15:guide>
        <p15:guide id="3" orient="horz" pos="5112" userDrawn="1">
          <p15:clr>
            <a:srgbClr val="000000"/>
          </p15:clr>
        </p15:guide>
        <p15:guide id="4" pos="125" userDrawn="1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"/>
            <a:ext cx="11950700" cy="672137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3" y="3391"/>
            <a:ext cx="9170617" cy="3967883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4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816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5" y="6377192"/>
            <a:ext cx="384375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6" y="6500304"/>
            <a:ext cx="35473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0"/>
            <a:ext cx="8310355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80"/>
            <a:ext cx="8310355" cy="16478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7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634800"/>
            <a:ext cx="8310355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071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3"/>
            <a:ext cx="2177268" cy="238074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73" tIns="34986" rIns="69973" bIns="3498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224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4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1216" eaLnBrk="0" hangingPunct="0"/>
            <a:r>
              <a:rPr lang="en-US" sz="612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21216" eaLnBrk="0" hangingPunct="0"/>
            <a:r>
              <a:rPr lang="en-US" sz="612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22733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517779" y="6522733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42"/>
            <a:r>
              <a:rPr lang="en-US" sz="612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5" y="50801"/>
            <a:ext cx="1411297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9593" userDrawn="1">
          <p15:clr>
            <a:srgbClr val="F26B43"/>
          </p15:clr>
        </p15:guide>
        <p15:guide id="2" pos="129" userDrawn="1">
          <p15:clr>
            <a:srgbClr val="F26B43"/>
          </p15:clr>
        </p15:guide>
        <p15:guide id="3" orient="horz" pos="899" userDrawn="1">
          <p15:clr>
            <a:srgbClr val="F26B43"/>
          </p15:clr>
        </p15:guide>
        <p15:guide id="4" orient="horz" pos="5111" userDrawn="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22733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612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517779" y="6522733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42"/>
            <a:r>
              <a:rPr lang="en-US" sz="612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5" y="50801"/>
            <a:ext cx="1411297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6545" userDrawn="1">
          <p15:clr>
            <a:srgbClr val="000000"/>
          </p15:clr>
        </p15:guide>
        <p15:guide id="2" orient="horz" pos="745" userDrawn="1">
          <p15:clr>
            <a:srgbClr val="000000"/>
          </p15:clr>
        </p15:guide>
        <p15:guide id="3" orient="horz" pos="5112" userDrawn="1">
          <p15:clr>
            <a:srgbClr val="000000"/>
          </p15:clr>
        </p15:guide>
        <p15:guide id="4" pos="125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162754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68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799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87263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3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1905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4782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5804942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2" y="342901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3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267701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68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3" y="655639"/>
            <a:ext cx="1881925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0" y="4981887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0" y="5199064"/>
            <a:ext cx="6581882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952066"/>
            <a:ext cx="68295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881" eaLnBrk="0" hangingPunct="0"/>
            <a:r>
              <a:rPr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" y="0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1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4"/>
            <a:ext cx="2182669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0" y="2133600"/>
            <a:ext cx="6581882" cy="376898"/>
          </a:xfrm>
          <a:prstGeom prst="rect">
            <a:avLst/>
          </a:prstGeom>
        </p:spPr>
        <p:txBody>
          <a:bodyPr/>
          <a:lstStyle>
            <a:lvl1pPr>
              <a:defRPr sz="2449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0" y="3867151"/>
            <a:ext cx="6581882" cy="16478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07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908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491754"/>
              </p:ext>
            </p:extLst>
          </p:nvPr>
        </p:nvGraphicFramePr>
        <p:xfrm>
          <a:off x="2119" y="1589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84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80" y="230189"/>
            <a:ext cx="11493417" cy="258982"/>
          </a:xfrm>
        </p:spPr>
        <p:txBody>
          <a:bodyPr/>
          <a:lstStyle>
            <a:lvl1pPr>
              <a:defRPr sz="1683" b="0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4847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3834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10.xml.rels><?xml version="1.0" encoding="UTF-8" standalone="yes"?>
<Relationships xmlns="http://schemas.openxmlformats.org/package/2006/relationships"><Relationship Id="rId20" Type="http://schemas.openxmlformats.org/officeDocument/2006/relationships/tags" Target="../tags/tag111.xml"/><Relationship Id="rId21" Type="http://schemas.openxmlformats.org/officeDocument/2006/relationships/tags" Target="../tags/tag112.xml"/><Relationship Id="rId22" Type="http://schemas.openxmlformats.org/officeDocument/2006/relationships/tags" Target="../tags/tag113.xml"/><Relationship Id="rId23" Type="http://schemas.openxmlformats.org/officeDocument/2006/relationships/tags" Target="../tags/tag114.xml"/><Relationship Id="rId24" Type="http://schemas.openxmlformats.org/officeDocument/2006/relationships/tags" Target="../tags/tag115.xml"/><Relationship Id="rId25" Type="http://schemas.openxmlformats.org/officeDocument/2006/relationships/tags" Target="../tags/tag116.xml"/><Relationship Id="rId26" Type="http://schemas.openxmlformats.org/officeDocument/2006/relationships/tags" Target="../tags/tag117.xml"/><Relationship Id="rId27" Type="http://schemas.openxmlformats.org/officeDocument/2006/relationships/tags" Target="../tags/tag118.xml"/><Relationship Id="rId28" Type="http://schemas.openxmlformats.org/officeDocument/2006/relationships/tags" Target="../tags/tag119.xml"/><Relationship Id="rId29" Type="http://schemas.openxmlformats.org/officeDocument/2006/relationships/tags" Target="../tags/tag120.xml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theme" Target="../theme/theme10.xml"/><Relationship Id="rId5" Type="http://schemas.openxmlformats.org/officeDocument/2006/relationships/vmlDrawing" Target="../drawings/vmlDrawing33.vml"/><Relationship Id="rId30" Type="http://schemas.openxmlformats.org/officeDocument/2006/relationships/tags" Target="../tags/tag121.xml"/><Relationship Id="rId31" Type="http://schemas.openxmlformats.org/officeDocument/2006/relationships/tags" Target="../tags/tag122.xml"/><Relationship Id="rId32" Type="http://schemas.openxmlformats.org/officeDocument/2006/relationships/tags" Target="../tags/tag123.xml"/><Relationship Id="rId9" Type="http://schemas.openxmlformats.org/officeDocument/2006/relationships/tags" Target="../tags/tag100.xml"/><Relationship Id="rId6" Type="http://schemas.openxmlformats.org/officeDocument/2006/relationships/tags" Target="../tags/tag97.xml"/><Relationship Id="rId7" Type="http://schemas.openxmlformats.org/officeDocument/2006/relationships/tags" Target="../tags/tag98.xml"/><Relationship Id="rId8" Type="http://schemas.openxmlformats.org/officeDocument/2006/relationships/tags" Target="../tags/tag99.xml"/><Relationship Id="rId33" Type="http://schemas.openxmlformats.org/officeDocument/2006/relationships/tags" Target="../tags/tag124.xml"/><Relationship Id="rId34" Type="http://schemas.openxmlformats.org/officeDocument/2006/relationships/tags" Target="../tags/tag125.xml"/><Relationship Id="rId35" Type="http://schemas.openxmlformats.org/officeDocument/2006/relationships/tags" Target="../tags/tag126.xml"/><Relationship Id="rId36" Type="http://schemas.openxmlformats.org/officeDocument/2006/relationships/tags" Target="../tags/tag127.xml"/><Relationship Id="rId10" Type="http://schemas.openxmlformats.org/officeDocument/2006/relationships/tags" Target="../tags/tag101.xml"/><Relationship Id="rId11" Type="http://schemas.openxmlformats.org/officeDocument/2006/relationships/tags" Target="../tags/tag102.xml"/><Relationship Id="rId12" Type="http://schemas.openxmlformats.org/officeDocument/2006/relationships/tags" Target="../tags/tag103.xml"/><Relationship Id="rId13" Type="http://schemas.openxmlformats.org/officeDocument/2006/relationships/tags" Target="../tags/tag104.xml"/><Relationship Id="rId14" Type="http://schemas.openxmlformats.org/officeDocument/2006/relationships/tags" Target="../tags/tag105.xml"/><Relationship Id="rId15" Type="http://schemas.openxmlformats.org/officeDocument/2006/relationships/tags" Target="../tags/tag106.xml"/><Relationship Id="rId16" Type="http://schemas.openxmlformats.org/officeDocument/2006/relationships/tags" Target="../tags/tag107.xml"/><Relationship Id="rId17" Type="http://schemas.openxmlformats.org/officeDocument/2006/relationships/tags" Target="../tags/tag108.xml"/><Relationship Id="rId18" Type="http://schemas.openxmlformats.org/officeDocument/2006/relationships/tags" Target="../tags/tag109.xml"/><Relationship Id="rId19" Type="http://schemas.openxmlformats.org/officeDocument/2006/relationships/tags" Target="../tags/tag110.xml"/><Relationship Id="rId37" Type="http://schemas.openxmlformats.org/officeDocument/2006/relationships/tags" Target="../tags/tag128.xml"/><Relationship Id="rId38" Type="http://schemas.openxmlformats.org/officeDocument/2006/relationships/oleObject" Target="../embeddings/oleObject33.bin"/><Relationship Id="rId3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5.v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oleObject" Target="../embeddings/oleObject5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8.vml"/><Relationship Id="rId6" Type="http://schemas.openxmlformats.org/officeDocument/2006/relationships/tags" Target="../tags/tag15.xml"/><Relationship Id="rId7" Type="http://schemas.openxmlformats.org/officeDocument/2006/relationships/tags" Target="../tags/tag16.xml"/><Relationship Id="rId8" Type="http://schemas.openxmlformats.org/officeDocument/2006/relationships/oleObject" Target="../embeddings/oleObject8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1.v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oleObject" Target="../embeddings/oleObject1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14.vml"/><Relationship Id="rId6" Type="http://schemas.openxmlformats.org/officeDocument/2006/relationships/tags" Target="../tags/tag27.xml"/><Relationship Id="rId7" Type="http://schemas.openxmlformats.org/officeDocument/2006/relationships/tags" Target="../tags/tag28.xml"/><Relationship Id="rId8" Type="http://schemas.openxmlformats.org/officeDocument/2006/relationships/oleObject" Target="../embeddings/oleObject14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6.xml"/><Relationship Id="rId5" Type="http://schemas.openxmlformats.org/officeDocument/2006/relationships/vmlDrawing" Target="../drawings/vmlDrawing17.v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oleObject" Target="../embeddings/oleObject17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0.vml"/><Relationship Id="rId6" Type="http://schemas.openxmlformats.org/officeDocument/2006/relationships/tags" Target="../tags/tag39.xml"/><Relationship Id="rId7" Type="http://schemas.openxmlformats.org/officeDocument/2006/relationships/tags" Target="../tags/tag40.xml"/><Relationship Id="rId8" Type="http://schemas.openxmlformats.org/officeDocument/2006/relationships/oleObject" Target="../embeddings/oleObject20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3.vml"/><Relationship Id="rId20" Type="http://schemas.openxmlformats.org/officeDocument/2006/relationships/tags" Target="../tags/tag55.xml"/><Relationship Id="rId21" Type="http://schemas.openxmlformats.org/officeDocument/2006/relationships/tags" Target="../tags/tag56.xml"/><Relationship Id="rId22" Type="http://schemas.openxmlformats.org/officeDocument/2006/relationships/tags" Target="../tags/tag57.xml"/><Relationship Id="rId23" Type="http://schemas.openxmlformats.org/officeDocument/2006/relationships/tags" Target="../tags/tag58.xml"/><Relationship Id="rId24" Type="http://schemas.openxmlformats.org/officeDocument/2006/relationships/tags" Target="../tags/tag59.xml"/><Relationship Id="rId25" Type="http://schemas.openxmlformats.org/officeDocument/2006/relationships/tags" Target="../tags/tag60.xml"/><Relationship Id="rId26" Type="http://schemas.openxmlformats.org/officeDocument/2006/relationships/tags" Target="../tags/tag61.xml"/><Relationship Id="rId27" Type="http://schemas.openxmlformats.org/officeDocument/2006/relationships/tags" Target="../tags/tag62.xml"/><Relationship Id="rId28" Type="http://schemas.openxmlformats.org/officeDocument/2006/relationships/tags" Target="../tags/tag63.xml"/><Relationship Id="rId29" Type="http://schemas.openxmlformats.org/officeDocument/2006/relationships/oleObject" Target="../embeddings/oleObject23.bin"/><Relationship Id="rId30" Type="http://schemas.openxmlformats.org/officeDocument/2006/relationships/image" Target="../media/image1.emf"/><Relationship Id="rId10" Type="http://schemas.openxmlformats.org/officeDocument/2006/relationships/tags" Target="../tags/tag45.xml"/><Relationship Id="rId11" Type="http://schemas.openxmlformats.org/officeDocument/2006/relationships/tags" Target="../tags/tag46.xml"/><Relationship Id="rId12" Type="http://schemas.openxmlformats.org/officeDocument/2006/relationships/tags" Target="../tags/tag47.xml"/><Relationship Id="rId13" Type="http://schemas.openxmlformats.org/officeDocument/2006/relationships/tags" Target="../tags/tag48.xml"/><Relationship Id="rId14" Type="http://schemas.openxmlformats.org/officeDocument/2006/relationships/tags" Target="../tags/tag49.xml"/><Relationship Id="rId15" Type="http://schemas.openxmlformats.org/officeDocument/2006/relationships/tags" Target="../tags/tag50.xml"/><Relationship Id="rId16" Type="http://schemas.openxmlformats.org/officeDocument/2006/relationships/tags" Target="../tags/tag51.xml"/><Relationship Id="rId17" Type="http://schemas.openxmlformats.org/officeDocument/2006/relationships/tags" Target="../tags/tag52.xml"/><Relationship Id="rId18" Type="http://schemas.openxmlformats.org/officeDocument/2006/relationships/tags" Target="../tags/tag53.xml"/><Relationship Id="rId19" Type="http://schemas.openxmlformats.org/officeDocument/2006/relationships/tags" Target="../tags/tag54.x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78.xml"/><Relationship Id="rId20" Type="http://schemas.openxmlformats.org/officeDocument/2006/relationships/tags" Target="../tags/tag89.xml"/><Relationship Id="rId21" Type="http://schemas.openxmlformats.org/officeDocument/2006/relationships/tags" Target="../tags/tag90.xml"/><Relationship Id="rId22" Type="http://schemas.openxmlformats.org/officeDocument/2006/relationships/tags" Target="../tags/tag91.xml"/><Relationship Id="rId23" Type="http://schemas.openxmlformats.org/officeDocument/2006/relationships/oleObject" Target="../embeddings/oleObject31.bin"/><Relationship Id="rId24" Type="http://schemas.openxmlformats.org/officeDocument/2006/relationships/image" Target="../media/image1.emf"/><Relationship Id="rId10" Type="http://schemas.openxmlformats.org/officeDocument/2006/relationships/tags" Target="../tags/tag79.xml"/><Relationship Id="rId11" Type="http://schemas.openxmlformats.org/officeDocument/2006/relationships/tags" Target="../tags/tag80.xml"/><Relationship Id="rId12" Type="http://schemas.openxmlformats.org/officeDocument/2006/relationships/tags" Target="../tags/tag81.xml"/><Relationship Id="rId13" Type="http://schemas.openxmlformats.org/officeDocument/2006/relationships/tags" Target="../tags/tag82.xml"/><Relationship Id="rId14" Type="http://schemas.openxmlformats.org/officeDocument/2006/relationships/tags" Target="../tags/tag83.xml"/><Relationship Id="rId15" Type="http://schemas.openxmlformats.org/officeDocument/2006/relationships/tags" Target="../tags/tag84.xml"/><Relationship Id="rId16" Type="http://schemas.openxmlformats.org/officeDocument/2006/relationships/tags" Target="../tags/tag85.xml"/><Relationship Id="rId17" Type="http://schemas.openxmlformats.org/officeDocument/2006/relationships/tags" Target="../tags/tag86.xml"/><Relationship Id="rId18" Type="http://schemas.openxmlformats.org/officeDocument/2006/relationships/tags" Target="../tags/tag87.xml"/><Relationship Id="rId19" Type="http://schemas.openxmlformats.org/officeDocument/2006/relationships/tags" Target="../tags/tag88.xml"/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theme" Target="../theme/theme9.xml"/><Relationship Id="rId5" Type="http://schemas.openxmlformats.org/officeDocument/2006/relationships/vmlDrawing" Target="../drawings/vmlDrawing31.vml"/><Relationship Id="rId6" Type="http://schemas.openxmlformats.org/officeDocument/2006/relationships/tags" Target="../tags/tag75.xml"/><Relationship Id="rId7" Type="http://schemas.openxmlformats.org/officeDocument/2006/relationships/tags" Target="../tags/tag76.xml"/><Relationship Id="rId8" Type="http://schemas.openxmlformats.org/officeDocument/2006/relationships/tags" Target="../tags/tag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05932151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74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 noProof="0">
                <a:latin typeface="+mn-lt"/>
                <a:ea typeface="+mn-ea"/>
              </a:rPr>
              <a:t>Last Modified 10/22/2018 1:48 PM Central European Standard Time</a:t>
            </a:r>
            <a:endParaRPr lang="en-US" sz="1224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 noProof="0" dirty="0">
                <a:latin typeface="+mn-lt"/>
                <a:ea typeface="+mn-ea"/>
              </a:rPr>
              <a:t>Printed 3/15/2016 7:28 PM GMT Standard Time</a:t>
            </a:r>
            <a:endParaRPr lang="en-US" sz="1224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baseline="0" noProof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3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1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66179" y="4125254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9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235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224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80" y="6335578"/>
            <a:ext cx="1140026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97" indent="-65597">
              <a:defRPr/>
            </a:pPr>
            <a:r>
              <a:rPr lang="en-US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37191"/>
            <a:ext cx="995432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789" indent="-377789" defTabSz="913542"/>
            <a:r>
              <a:rPr lang="en-US" sz="612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7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5" y="1370469"/>
            <a:ext cx="5686373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83041" y="285752"/>
            <a:ext cx="369138" cy="121893"/>
            <a:chOff x="8463970" y="285750"/>
            <a:chExt cx="276805" cy="12189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3970" y="285750"/>
              <a:ext cx="276805" cy="12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42">
                <a:buClr>
                  <a:srgbClr val="002960"/>
                </a:buClr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3970" y="285750"/>
              <a:ext cx="0" cy="12189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3970" y="407642"/>
              <a:ext cx="27680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0" y="279402"/>
            <a:ext cx="648373" cy="984250"/>
            <a:chOff x="7835905" y="279400"/>
            <a:chExt cx="648287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7" y="279400"/>
            <a:ext cx="956389" cy="687358"/>
            <a:chOff x="7540629" y="279400"/>
            <a:chExt cx="956261" cy="6873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5" y="250825"/>
            <a:ext cx="715057" cy="1306516"/>
            <a:chOff x="7769225" y="250825"/>
            <a:chExt cx="71496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5" y="50801"/>
            <a:ext cx="1411297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6" y="431801"/>
            <a:ext cx="648373" cy="984250"/>
            <a:chOff x="7835905" y="279400"/>
            <a:chExt cx="648287" cy="984251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23" y="431800"/>
            <a:ext cx="956389" cy="687358"/>
            <a:chOff x="7540629" y="279400"/>
            <a:chExt cx="956261" cy="6873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1" y="403226"/>
            <a:ext cx="715057" cy="1306516"/>
            <a:chOff x="7769225" y="250825"/>
            <a:chExt cx="714962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rgbClr val="002960"/>
                </a:buClr>
              </a:pPr>
              <a:r>
                <a:rPr lang="en-US" sz="918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77043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913542" rtl="0" eaLnBrk="1" fontAlgn="base" hangingPunct="1">
        <a:spcBef>
          <a:spcPct val="0"/>
        </a:spcBef>
        <a:spcAft>
          <a:spcPct val="0"/>
        </a:spcAft>
        <a:tabLst>
          <a:tab pos="27535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2pPr>
      <a:lvl3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3pPr>
      <a:lvl4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4pPr>
      <a:lvl5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5pPr>
      <a:lvl6pPr marL="46648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6pPr>
      <a:lvl7pPr marL="93297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7pPr>
      <a:lvl8pPr marL="139946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8pPr>
      <a:lvl9pPr marL="186595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55" indent="-14600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6489" indent="-26726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6846" indent="-158736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5042" indent="-13282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8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7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6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5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44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93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42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91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39122056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8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dirty="0">
                <a:solidFill>
                  <a:srgbClr val="FFFFFF">
                    <a:lumMod val="50000"/>
                  </a:srgbClr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1818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85736423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0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dirty="0">
                <a:solidFill>
                  <a:srgbClr val="FFFFFF">
                    <a:lumMod val="50000"/>
                  </a:srgbClr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2728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73187347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00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dirty="0">
                <a:solidFill>
                  <a:srgbClr val="FFFFFF">
                    <a:lumMod val="50000"/>
                  </a:srgbClr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5184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3649805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1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dirty="0">
                <a:solidFill>
                  <a:srgbClr val="FFFFFF">
                    <a:lumMod val="50000"/>
                  </a:srgbClr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0121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50920097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2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dirty="0">
                <a:solidFill>
                  <a:srgbClr val="FFFFFF">
                    <a:lumMod val="50000"/>
                  </a:srgbClr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3614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89544418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41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3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  <a:latin typeface="Arial"/>
              </a:rPr>
              <a:t>Last Modified 10/22/2018 1:48 PM Central European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1997" y="4125251"/>
            <a:ext cx="1231106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dirty="0">
                <a:solidFill>
                  <a:srgbClr val="000000"/>
                </a:solidFill>
                <a:latin typeface="Arial"/>
              </a:rPr>
              <a:t>Printed 3/15/2016 7:28 PM GMT Standard Time</a:t>
            </a:r>
            <a:endParaRPr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1493417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dirty="0">
                <a:solidFill>
                  <a:srgbClr val="FFFFFF">
                    <a:lumMod val="50000"/>
                  </a:srgbClr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3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1060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74103788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40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24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83916" y="1951426"/>
            <a:ext cx="1747273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>
                <a:solidFill>
                  <a:srgbClr val="808080"/>
                </a:solidFill>
                <a:latin typeface="+mn-lt"/>
                <a:ea typeface="+mn-ea"/>
              </a:rPr>
              <a:t>Last Modified 10/22/2018 1:48 PM Central European Standard Time</a:t>
            </a:r>
            <a:endParaRPr lang="en-US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90702" y="4125251"/>
            <a:ext cx="1333698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 baseline="0">
                <a:solidFill>
                  <a:srgbClr val="808080"/>
                </a:solidFill>
                <a:latin typeface="+mn-lt"/>
                <a:ea typeface="+mn-ea"/>
              </a:rPr>
              <a:t>Printed 30.06.2017 14:20 W. Europe Standard Time</a:t>
            </a:r>
            <a:endParaRPr lang="en-US" sz="1224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0" y="230189"/>
            <a:ext cx="11493417" cy="235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1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0" y="554866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80" y="6335578"/>
            <a:ext cx="1149341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612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37191"/>
            <a:ext cx="960170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466466" indent="-466466" defTabSz="685122">
              <a:tabLst>
                <a:tab pos="482258" algn="l"/>
              </a:tabLst>
            </a:pPr>
            <a:r>
              <a:rPr lang="en-US" sz="612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3" cy="8239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370469"/>
            <a:ext cx="5686374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83050" y="285752"/>
            <a:ext cx="369138" cy="121893"/>
            <a:chOff x="8463970" y="285750"/>
            <a:chExt cx="276805" cy="12189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3970" y="285750"/>
              <a:ext cx="276805" cy="12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>
                <a:buClr>
                  <a:srgbClr val="002960"/>
                </a:buClr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3970" y="285750"/>
              <a:ext cx="0" cy="12189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3970" y="407642"/>
              <a:ext cx="2768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347344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555334" y="279402"/>
            <a:ext cx="733066" cy="984250"/>
            <a:chOff x="7835905" y="279400"/>
            <a:chExt cx="549702" cy="98425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144847" y="279400"/>
            <a:ext cx="1143772" cy="687358"/>
            <a:chOff x="7540629" y="279400"/>
            <a:chExt cx="857677" cy="6873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466418" y="250825"/>
            <a:ext cx="821982" cy="1306516"/>
            <a:chOff x="7769225" y="250825"/>
            <a:chExt cx="61637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295702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4" name="1. On-page tracker" hidden="1"/>
          <p:cNvSpPr>
            <a:spLocks noChangeArrowheads="1"/>
          </p:cNvSpPr>
          <p:nvPr/>
        </p:nvSpPr>
        <p:spPr bwMode="auto">
          <a:xfrm>
            <a:off x="158780" y="26990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/>
        </p:nvSpPr>
        <p:spPr bwMode="auto">
          <a:xfrm>
            <a:off x="158779" y="531813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67" name="4. Footnote" hidden="1"/>
          <p:cNvSpPr txBox="1">
            <a:spLocks noChangeArrowheads="1"/>
          </p:cNvSpPr>
          <p:nvPr/>
        </p:nvSpPr>
        <p:spPr bwMode="auto">
          <a:xfrm>
            <a:off x="158780" y="6114819"/>
            <a:ext cx="114002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65" baseline="0" noProof="0" dirty="0">
                <a:latin typeface="+mn-lt"/>
              </a:rPr>
              <a:t>1 Footnote</a:t>
            </a:r>
          </a:p>
        </p:txBody>
      </p:sp>
      <p:sp>
        <p:nvSpPr>
          <p:cNvPr id="68" name="5. Source" hidden="1"/>
          <p:cNvSpPr>
            <a:spLocks noChangeArrowheads="1"/>
          </p:cNvSpPr>
          <p:nvPr/>
        </p:nvSpPr>
        <p:spPr bwMode="auto">
          <a:xfrm>
            <a:off x="158779" y="6453874"/>
            <a:ext cx="915197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765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69" name="ACET" hidden="1"/>
          <p:cNvGrpSpPr>
            <a:grpSpLocks/>
          </p:cNvGrpSpPr>
          <p:nvPr/>
        </p:nvGrpSpPr>
        <p:grpSpPr bwMode="auto">
          <a:xfrm>
            <a:off x="1937094" y="1239841"/>
            <a:ext cx="5686374" cy="395289"/>
            <a:chOff x="915" y="781"/>
            <a:chExt cx="2686" cy="249"/>
          </a:xfrm>
        </p:grpSpPr>
        <p:cxnSp>
          <p:nvCxnSpPr>
            <p:cNvPr id="70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72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342912" y="6464829"/>
            <a:ext cx="76944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22"/>
            <a:r>
              <a:rPr lang="en-US" sz="612" baseline="0" noProof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73" name="Slide Number"/>
          <p:cNvSpPr txBox="1">
            <a:spLocks/>
          </p:cNvSpPr>
          <p:nvPr/>
        </p:nvSpPr>
        <p:spPr>
          <a:xfrm>
            <a:off x="11396035" y="6464829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 sz="61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4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22"/>
            <a:r>
              <a:rPr lang="en-US" sz="918" dirty="0">
                <a:solidFill>
                  <a:srgbClr val="FFFFFF">
                    <a:lumMod val="50000"/>
                  </a:srgbClr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2978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86228313"/>
              </p:ext>
            </p:extLst>
          </p:nvPr>
        </p:nvGraphicFramePr>
        <p:xfrm>
          <a:off x="0" y="1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1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1632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3" y="50803"/>
            <a:ext cx="1207188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42"/>
            <a:endParaRPr lang="en-US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66179" y="4125254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59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235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12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224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80" y="6335578"/>
            <a:ext cx="1140026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97" indent="-65597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37191"/>
            <a:ext cx="995432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789" indent="-377789" defTabSz="913542">
              <a:tabLst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5" y="1370469"/>
            <a:ext cx="5686373" cy="395289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24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24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83041" y="285752"/>
            <a:ext cx="369138" cy="121893"/>
            <a:chOff x="8463970" y="285750"/>
            <a:chExt cx="276805" cy="12189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3970" y="285750"/>
              <a:ext cx="276805" cy="12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42">
                <a:buClr>
                  <a:schemeClr val="tx2"/>
                </a:buClr>
              </a:pPr>
              <a:r>
                <a:rPr lang="en-US" sz="61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3970" y="285750"/>
              <a:ext cx="0" cy="12189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3970" y="407642"/>
              <a:ext cx="27680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0" y="279402"/>
            <a:ext cx="648373" cy="984250"/>
            <a:chOff x="7835905" y="279400"/>
            <a:chExt cx="648287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7" y="279400"/>
            <a:ext cx="956389" cy="687358"/>
            <a:chOff x="7540629" y="279400"/>
            <a:chExt cx="956261" cy="6873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94286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5" y="250825"/>
            <a:ext cx="715057" cy="1306516"/>
            <a:chOff x="7769225" y="250825"/>
            <a:chExt cx="71496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94287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>
                <a:buClr>
                  <a:schemeClr val="tx2"/>
                </a:buClr>
              </a:pPr>
              <a:r>
                <a:rPr lang="en-US" sz="91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561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</p:sldLayoutIdLst>
  <p:hf hdr="0" ftr="0" dt="0"/>
  <p:txStyles>
    <p:titleStyle>
      <a:lvl1pPr algn="l" defTabSz="913542" rtl="0" eaLnBrk="1" fontAlgn="base" hangingPunct="1">
        <a:spcBef>
          <a:spcPct val="0"/>
        </a:spcBef>
        <a:spcAft>
          <a:spcPct val="0"/>
        </a:spcAft>
        <a:tabLst>
          <a:tab pos="275358" algn="l"/>
        </a:tabLst>
        <a:defRPr sz="153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2pPr>
      <a:lvl3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3pPr>
      <a:lvl4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4pPr>
      <a:lvl5pPr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5pPr>
      <a:lvl6pPr marL="46648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6pPr>
      <a:lvl7pPr marL="932979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7pPr>
      <a:lvl8pPr marL="139946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8pPr>
      <a:lvl9pPr marL="1865957" algn="l" defTabSz="913542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55" indent="-14600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585" indent="-190076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1057" indent="-118453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982" indent="-99170" algn="l" defTabSz="685122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24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42" indent="-132820" algn="l" defTabSz="9135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8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79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6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57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44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936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42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914" algn="l" defTabSz="93297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139.xml"/><Relationship Id="rId20" Type="http://schemas.openxmlformats.org/officeDocument/2006/relationships/image" Target="../media/image17.emf"/><Relationship Id="rId21" Type="http://schemas.openxmlformats.org/officeDocument/2006/relationships/oleObject" Target="../embeddings/oleObject37.bin"/><Relationship Id="rId22" Type="http://schemas.openxmlformats.org/officeDocument/2006/relationships/image" Target="../media/image18.emf"/><Relationship Id="rId23" Type="http://schemas.openxmlformats.org/officeDocument/2006/relationships/oleObject" Target="../embeddings/oleObject38.bin"/><Relationship Id="rId24" Type="http://schemas.openxmlformats.org/officeDocument/2006/relationships/image" Target="../media/image19.emf"/><Relationship Id="rId10" Type="http://schemas.openxmlformats.org/officeDocument/2006/relationships/tags" Target="../tags/tag140.xml"/><Relationship Id="rId11" Type="http://schemas.openxmlformats.org/officeDocument/2006/relationships/tags" Target="../tags/tag141.xml"/><Relationship Id="rId12" Type="http://schemas.openxmlformats.org/officeDocument/2006/relationships/tags" Target="../tags/tag142.xml"/><Relationship Id="rId13" Type="http://schemas.openxmlformats.org/officeDocument/2006/relationships/tags" Target="../tags/tag143.xml"/><Relationship Id="rId14" Type="http://schemas.openxmlformats.org/officeDocument/2006/relationships/tags" Target="../tags/tag144.xml"/><Relationship Id="rId15" Type="http://schemas.openxmlformats.org/officeDocument/2006/relationships/slideLayout" Target="../slideLayouts/slideLayout30.xml"/><Relationship Id="rId16" Type="http://schemas.openxmlformats.org/officeDocument/2006/relationships/notesSlide" Target="../notesSlides/notesSlide1.xml"/><Relationship Id="rId17" Type="http://schemas.openxmlformats.org/officeDocument/2006/relationships/oleObject" Target="../embeddings/oleObject35.bin"/><Relationship Id="rId18" Type="http://schemas.openxmlformats.org/officeDocument/2006/relationships/image" Target="../media/image16.emf"/><Relationship Id="rId19" Type="http://schemas.openxmlformats.org/officeDocument/2006/relationships/oleObject" Target="../embeddings/oleObject36.bin"/><Relationship Id="rId1" Type="http://schemas.openxmlformats.org/officeDocument/2006/relationships/vmlDrawing" Target="../drawings/vmlDrawing35.vml"/><Relationship Id="rId2" Type="http://schemas.openxmlformats.org/officeDocument/2006/relationships/tags" Target="../tags/tag132.xml"/><Relationship Id="rId3" Type="http://schemas.openxmlformats.org/officeDocument/2006/relationships/tags" Target="../tags/tag133.xml"/><Relationship Id="rId4" Type="http://schemas.openxmlformats.org/officeDocument/2006/relationships/tags" Target="../tags/tag134.xml"/><Relationship Id="rId5" Type="http://schemas.openxmlformats.org/officeDocument/2006/relationships/tags" Target="../tags/tag135.xml"/><Relationship Id="rId6" Type="http://schemas.openxmlformats.org/officeDocument/2006/relationships/tags" Target="../tags/tag136.xml"/><Relationship Id="rId7" Type="http://schemas.openxmlformats.org/officeDocument/2006/relationships/tags" Target="../tags/tag137.xml"/><Relationship Id="rId8" Type="http://schemas.openxmlformats.org/officeDocument/2006/relationships/tags" Target="../tags/tag1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0.emf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45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8.png"/><Relationship Id="rId12" Type="http://schemas.openxmlformats.org/officeDocument/2006/relationships/image" Target="../media/image29.png"/><Relationship Id="rId1" Type="http://schemas.openxmlformats.org/officeDocument/2006/relationships/vmlDrawing" Target="../drawings/vmlDrawing37.vml"/><Relationship Id="rId2" Type="http://schemas.openxmlformats.org/officeDocument/2006/relationships/tags" Target="../tags/tag146.xml"/><Relationship Id="rId3" Type="http://schemas.openxmlformats.org/officeDocument/2006/relationships/tags" Target="../tags/tag147.xml"/><Relationship Id="rId4" Type="http://schemas.openxmlformats.org/officeDocument/2006/relationships/tags" Target="../tags/tag148.xml"/><Relationship Id="rId5" Type="http://schemas.openxmlformats.org/officeDocument/2006/relationships/tags" Target="../tags/tag149.xml"/><Relationship Id="rId6" Type="http://schemas.openxmlformats.org/officeDocument/2006/relationships/slideLayout" Target="../slideLayouts/slideLayout30.xml"/><Relationship Id="rId7" Type="http://schemas.openxmlformats.org/officeDocument/2006/relationships/oleObject" Target="../embeddings/oleObject40.bin"/><Relationship Id="rId8" Type="http://schemas.openxmlformats.org/officeDocument/2006/relationships/image" Target="../media/image20.emf"/><Relationship Id="rId9" Type="http://schemas.openxmlformats.org/officeDocument/2006/relationships/image" Target="../media/image26.jpeg"/><Relationship Id="rId10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277305"/>
              </p:ext>
            </p:extLst>
          </p:nvPr>
        </p:nvGraphicFramePr>
        <p:xfrm>
          <a:off x="2546553" y="788988"/>
          <a:ext cx="121481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8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63" name="Object 6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546553" y="788988"/>
                        <a:ext cx="121481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D2A899-2AFB-4EA8-A592-8A36D9CF66E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403350" y="788987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53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5. Source"/>
          <p:cNvSpPr>
            <a:spLocks noChangeArrowheads="1"/>
          </p:cNvSpPr>
          <p:nvPr/>
        </p:nvSpPr>
        <p:spPr bwMode="gray">
          <a:xfrm>
            <a:off x="1524839" y="5769354"/>
            <a:ext cx="70025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466466" indent="-466466" defTabSz="685122">
              <a:tabLst>
                <a:tab pos="468895" algn="l"/>
              </a:tabLst>
            </a:pPr>
            <a:r>
              <a:rPr lang="en-US" sz="612" dirty="0">
                <a:solidFill>
                  <a:schemeClr val="accent6"/>
                </a:solidFill>
                <a:latin typeface="Arial" panose="020B0604020202020204" pitchFamily="34" charset="0"/>
              </a:rPr>
              <a:t>SOURCE: McKinsey Pricing Practi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158781" y="230190"/>
            <a:ext cx="1149341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Advanced analytics to drive growth in B2B sales </a:t>
            </a:r>
          </a:p>
        </p:txBody>
      </p:sp>
      <p:graphicFrame>
        <p:nvGraphicFramePr>
          <p:cNvPr id="27" name="Object 26">
            <a:extLst>
              <a:ext uri="{FF2B5EF4-FFF2-40B4-BE49-F238E27FC236}">
                <a16:creationId xmlns:a16="http://schemas.microsoft.com/office/drawing/2014/main" xmlns="" id="{A61C6714-A24B-48B7-9FD7-3CC7E796FE59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200448"/>
              </p:ext>
            </p:extLst>
          </p:nvPr>
        </p:nvGraphicFramePr>
        <p:xfrm>
          <a:off x="9143486" y="2021163"/>
          <a:ext cx="2438518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86" name="Chart" r:id="rId19" imgW="2438518" imgH="914400" progId="MSGraph.Chart.8">
                  <p:embed followColorScheme="full"/>
                </p:oleObj>
              </mc:Choice>
              <mc:Fallback>
                <p:oleObj name="Chart" r:id="rId19" imgW="2438518" imgH="914400" progId="MSGraph.Chart.8">
                  <p:embed followColorScheme="full"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xmlns="" id="{5F2B685D-E955-4289-85A5-FE8DC1D16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9143486" y="2021163"/>
                        <a:ext cx="2438518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E670D91B-1BA2-4A1E-99CB-2DF8B73CDFBE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9810237" y="1911627"/>
            <a:ext cx="1109663" cy="9525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1D0B550D-673C-4CC1-876F-C74D033E5E0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892787" y="1790977"/>
            <a:ext cx="942975" cy="2524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7551B8EB-3B60-4B52-A6CB-6D4B88B9577B}" type="datetime'+''''4''''%'''''">
              <a:rPr lang="en-US" altLang="en-US" sz="1200" b="1">
                <a:solidFill>
                  <a:schemeClr val="accent3"/>
                </a:solidFill>
              </a:rPr>
              <a:pPr/>
              <a:t>+4%</a:t>
            </a:fld>
            <a:r>
              <a:rPr lang="en-US" sz="1200" b="1" dirty="0">
                <a:solidFill>
                  <a:schemeClr val="accent3"/>
                </a:solidFill>
                <a:sym typeface="+mn-lt"/>
              </a:rPr>
              <a:t> p.a.</a:t>
            </a:r>
          </a:p>
        </p:txBody>
      </p:sp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xmlns="" id="{25CEE575-0203-4067-A4A5-9B8BE0A8A2E8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7757231"/>
              </p:ext>
            </p:extLst>
          </p:nvPr>
        </p:nvGraphicFramePr>
        <p:xfrm>
          <a:off x="9143486" y="2935563"/>
          <a:ext cx="2438518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87" name="Chart" r:id="rId21" imgW="2438518" imgH="914400" progId="MSGraph.Chart.8">
                  <p:embed followColorScheme="full"/>
                </p:oleObj>
              </mc:Choice>
              <mc:Fallback>
                <p:oleObj name="Chart" r:id="rId21" imgW="2438518" imgH="914400" progId="MSGraph.Chart.8">
                  <p:embed followColorScheme="full"/>
                  <p:pic>
                    <p:nvPicPr>
                      <p:cNvPr id="42" name="Object 41">
                        <a:extLst>
                          <a:ext uri="{FF2B5EF4-FFF2-40B4-BE49-F238E27FC236}">
                            <a16:creationId xmlns:a16="http://schemas.microsoft.com/office/drawing/2014/main" xmlns="" id="{AB19A4A0-1F83-4DD4-BFB2-798ED7287C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143486" y="2935563"/>
                        <a:ext cx="2438518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9AE7A804-17D8-4080-9B91-FCD0EBD6B93D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9810237" y="2830788"/>
            <a:ext cx="1109663" cy="190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FAF085CF-1C07-416F-AB0F-71DE32E5670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92787" y="2714902"/>
            <a:ext cx="942975" cy="2524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98FEA88D-5D54-4DA7-B555-B88A465CA19E}" type="datetime'''''''+''''''''''''''''5''''''''''%'''''''''''''''''''''''">
              <a:rPr lang="en-US" altLang="en-US" sz="1200" b="1">
                <a:solidFill>
                  <a:schemeClr val="accent3"/>
                </a:solidFill>
              </a:rPr>
              <a:pPr/>
              <a:t>+5%</a:t>
            </a:fld>
            <a:r>
              <a:rPr lang="en-US" sz="1200" b="1" dirty="0">
                <a:solidFill>
                  <a:schemeClr val="accent3"/>
                </a:solidFill>
                <a:sym typeface="+mn-lt"/>
              </a:rPr>
              <a:t> p.a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6BEB584A-46E6-40D0-B2F6-A5827E073D80}"/>
              </a:ext>
            </a:extLst>
          </p:cNvPr>
          <p:cNvSpPr txBox="1">
            <a:spLocks/>
          </p:cNvSpPr>
          <p:nvPr/>
        </p:nvSpPr>
        <p:spPr bwMode="gray">
          <a:xfrm>
            <a:off x="8340115" y="1954257"/>
            <a:ext cx="70932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defTabSz="1193860" eaLnBrk="1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92024" lvl="2" indent="-192024" defTabSz="119386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lang="en-US" baseline="0" dirty="0" smtClean="0">
                <a:latin typeface="+mn-lt"/>
              </a:defRPr>
            </a:lvl3pPr>
            <a:lvl4pPr marL="448056" lvl="3" indent="-246888" defTabSz="119386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en-US" baseline="0" dirty="0">
                <a:latin typeface="+mn-lt"/>
              </a:defRPr>
            </a:lvl4pPr>
            <a:lvl5pPr marL="746550" indent="-285750" defTabSz="1193860" eaLnBrk="1" hangingPunct="1">
              <a:spcBef>
                <a:spcPts val="10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Wingdings" panose="05000000000000000000" pitchFamily="2" charset="2"/>
              <a:buChar char="q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Revenu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18AA897-6BCA-4A03-836F-1575814B2096}"/>
              </a:ext>
            </a:extLst>
          </p:cNvPr>
          <p:cNvSpPr txBox="1">
            <a:spLocks/>
          </p:cNvSpPr>
          <p:nvPr/>
        </p:nvSpPr>
        <p:spPr bwMode="gray">
          <a:xfrm>
            <a:off x="8340115" y="2910271"/>
            <a:ext cx="70932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defTabSz="1193860" eaLnBrk="1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92024" lvl="2" indent="-192024" defTabSz="119386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lang="en-US" baseline="0" dirty="0" smtClean="0">
                <a:latin typeface="+mn-lt"/>
              </a:defRPr>
            </a:lvl3pPr>
            <a:lvl4pPr marL="448056" lvl="3" indent="-246888" defTabSz="119386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en-US" baseline="0" dirty="0">
                <a:latin typeface="+mn-lt"/>
              </a:defRPr>
            </a:lvl4pPr>
            <a:lvl5pPr marL="746550" indent="-285750" defTabSz="1193860" eaLnBrk="1" hangingPunct="1">
              <a:spcBef>
                <a:spcPts val="10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Wingdings" panose="05000000000000000000" pitchFamily="2" charset="2"/>
              <a:buChar char="q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Pric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92C0B4FD-5DC0-4CFB-A653-8B89494D5D5A}"/>
              </a:ext>
            </a:extLst>
          </p:cNvPr>
          <p:cNvSpPr txBox="1">
            <a:spLocks/>
          </p:cNvSpPr>
          <p:nvPr/>
        </p:nvSpPr>
        <p:spPr bwMode="gray">
          <a:xfrm>
            <a:off x="8340115" y="3799349"/>
            <a:ext cx="70932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defTabSz="1193860" eaLnBrk="1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0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92024" lvl="2" indent="-192024" defTabSz="119386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lang="en-US" baseline="0" dirty="0" smtClean="0">
                <a:latin typeface="+mn-lt"/>
              </a:defRPr>
            </a:lvl3pPr>
            <a:lvl4pPr marL="448056" lvl="3" indent="-246888" defTabSz="119386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en-US" baseline="0" dirty="0">
                <a:latin typeface="+mn-lt"/>
              </a:defRPr>
            </a:lvl4pPr>
            <a:lvl5pPr marL="746550" indent="-285750" defTabSz="1193860" eaLnBrk="1" hangingPunct="1">
              <a:spcBef>
                <a:spcPts val="100"/>
              </a:spcBef>
              <a:spcAft>
                <a:spcPts val="600"/>
              </a:spcAft>
              <a:buClr>
                <a:schemeClr val="accent6"/>
              </a:buClr>
              <a:buSzPct val="100000"/>
              <a:buFont typeface="Wingdings" panose="05000000000000000000" pitchFamily="2" charset="2"/>
              <a:buChar char="q"/>
              <a:defRPr lang="x-none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Profi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7FE32ADB-5BB3-49C3-99ED-27E52E4F43D1}"/>
              </a:ext>
            </a:extLst>
          </p:cNvPr>
          <p:cNvCxnSpPr>
            <a:cxnSpLocks/>
          </p:cNvCxnSpPr>
          <p:nvPr/>
        </p:nvCxnSpPr>
        <p:spPr>
          <a:xfrm>
            <a:off x="9117659" y="2619029"/>
            <a:ext cx="0" cy="767150"/>
          </a:xfrm>
          <a:prstGeom prst="line">
            <a:avLst/>
          </a:prstGeom>
          <a:noFill/>
          <a:ln w="12700" cap="flat">
            <a:solidFill>
              <a:schemeClr val="accent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32EE92EB-F58A-4B77-AAB4-E30DD6E04836}"/>
              </a:ext>
            </a:extLst>
          </p:cNvPr>
          <p:cNvCxnSpPr>
            <a:cxnSpLocks/>
          </p:cNvCxnSpPr>
          <p:nvPr/>
        </p:nvCxnSpPr>
        <p:spPr>
          <a:xfrm>
            <a:off x="9117659" y="1644058"/>
            <a:ext cx="0" cy="805064"/>
          </a:xfrm>
          <a:prstGeom prst="line">
            <a:avLst/>
          </a:prstGeom>
          <a:noFill/>
          <a:ln w="12700" cap="flat">
            <a:solidFill>
              <a:schemeClr val="accent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7C1FA6F0-3DC2-4DD3-880E-11D551D90E58}"/>
              </a:ext>
            </a:extLst>
          </p:cNvPr>
          <p:cNvCxnSpPr>
            <a:cxnSpLocks/>
          </p:cNvCxnSpPr>
          <p:nvPr/>
        </p:nvCxnSpPr>
        <p:spPr>
          <a:xfrm flipH="1">
            <a:off x="9117659" y="3514303"/>
            <a:ext cx="0" cy="754761"/>
          </a:xfrm>
          <a:prstGeom prst="line">
            <a:avLst/>
          </a:prstGeom>
          <a:noFill/>
          <a:ln w="12700" cap="flat">
            <a:solidFill>
              <a:schemeClr val="accent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40" name="Object 39">
            <a:extLst>
              <a:ext uri="{FF2B5EF4-FFF2-40B4-BE49-F238E27FC236}">
                <a16:creationId xmlns:a16="http://schemas.microsoft.com/office/drawing/2014/main" xmlns="" id="{F2B4503E-7BE8-40DC-9229-964ABF25A2CA}"/>
              </a:ext>
            </a:extLst>
          </p:cNvPr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73770040"/>
              </p:ext>
            </p:extLst>
          </p:nvPr>
        </p:nvGraphicFramePr>
        <p:xfrm>
          <a:off x="9105385" y="3811863"/>
          <a:ext cx="24480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88" name="Chart" r:id="rId23" imgW="2448050" imgH="914400" progId="MSGraph.Chart.8">
                  <p:embed followColorScheme="full"/>
                </p:oleObj>
              </mc:Choice>
              <mc:Fallback>
                <p:oleObj name="Chart" r:id="rId23" imgW="2448050" imgH="914400" progId="MSGraph.Chart.8">
                  <p:embed followColorScheme="full"/>
                  <p:pic>
                    <p:nvPicPr>
                      <p:cNvPr id="45" name="Object 44">
                        <a:extLst>
                          <a:ext uri="{FF2B5EF4-FFF2-40B4-BE49-F238E27FC236}">
                            <a16:creationId xmlns:a16="http://schemas.microsoft.com/office/drawing/2014/main" xmlns="" id="{E865A4A1-AC53-4F4A-8758-2EECF721F8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9105385" y="3811863"/>
                        <a:ext cx="244805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9FFF153A-C5C6-4DE1-9231-F7DD4F19139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9781662" y="3640413"/>
            <a:ext cx="1109663" cy="1143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B1E751CD-562C-45CC-8941-F9D322DA960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799124" y="3572152"/>
            <a:ext cx="1073150" cy="2524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DFEE5DBB-BF56-4AD9-B93D-31B00C8093E7}" type="datetime'''+''''''4''''''''''''''''''4%'''">
              <a:rPr lang="en-US" altLang="en-US" sz="1200" b="1">
                <a:solidFill>
                  <a:schemeClr val="accent3"/>
                </a:solidFill>
              </a:rPr>
              <a:pPr/>
              <a:t>+44%</a:t>
            </a:fld>
            <a:r>
              <a:rPr lang="en-US" sz="1200" b="1" dirty="0">
                <a:solidFill>
                  <a:schemeClr val="accent3"/>
                </a:solidFill>
                <a:sym typeface="+mn-lt"/>
              </a:rPr>
              <a:t> p.a.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04770005-0FBB-4372-8D07-655FE2ECD6B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567474" y="4394476"/>
            <a:ext cx="6477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Q4 2018</a:t>
            </a:r>
            <a:endParaRPr lang="en-US" sz="1200" dirty="0"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9496CD72-8D76-4BEE-B34C-5F2305EB0A2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457811" y="4394476"/>
            <a:ext cx="6477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Q4 2017</a:t>
            </a:r>
            <a:endParaRPr lang="en-US" sz="1200" dirty="0"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FC7457D-0311-4BDE-A60D-AA45CD9DFF94}"/>
              </a:ext>
            </a:extLst>
          </p:cNvPr>
          <p:cNvSpPr txBox="1">
            <a:spLocks/>
          </p:cNvSpPr>
          <p:nvPr/>
        </p:nvSpPr>
        <p:spPr>
          <a:xfrm>
            <a:off x="8340115" y="4716212"/>
            <a:ext cx="310959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Rolled out nation wide with 400+ sales roles trained in &lt;6 month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9CD6649D-FB42-455F-AFA4-FF2441391868}"/>
              </a:ext>
            </a:extLst>
          </p:cNvPr>
          <p:cNvSpPr txBox="1"/>
          <p:nvPr/>
        </p:nvSpPr>
        <p:spPr>
          <a:xfrm>
            <a:off x="3959670" y="1514573"/>
            <a:ext cx="3864804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Rapid diagnostic </a:t>
            </a:r>
            <a:r>
              <a:rPr lang="en-US" sz="1200" dirty="0"/>
              <a:t>of</a:t>
            </a:r>
            <a:r>
              <a:rPr lang="en-US" sz="1200" b="1" dirty="0">
                <a:solidFill>
                  <a:schemeClr val="accent3"/>
                </a:solidFill>
              </a:rPr>
              <a:t> </a:t>
            </a:r>
            <a:r>
              <a:rPr lang="en-US" sz="1200" dirty="0"/>
              <a:t>sales and pricing opportunities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Advanced analytics </a:t>
            </a:r>
            <a:r>
              <a:rPr lang="en-US" sz="1200" dirty="0"/>
              <a:t>(e.g., machine learning, random forest) on lead generation, upsell, and pricing opportunities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McKinsey implementation </a:t>
            </a:r>
            <a:r>
              <a:rPr lang="en-US" sz="1200" dirty="0"/>
              <a:t>to build capabilities and drive a pilot program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Digital McKinsey </a:t>
            </a:r>
            <a:r>
              <a:rPr lang="en-US" sz="1200" dirty="0"/>
              <a:t>to build tableau and embed performance management in CRM 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Multi-stage roll-out </a:t>
            </a:r>
            <a:r>
              <a:rPr lang="en-US" sz="1200" dirty="0"/>
              <a:t>with a pilot proof point that rapidly scal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3EF85443-B525-4486-86A6-26CA16805663}"/>
              </a:ext>
            </a:extLst>
          </p:cNvPr>
          <p:cNvSpPr txBox="1"/>
          <p:nvPr/>
        </p:nvSpPr>
        <p:spPr>
          <a:xfrm>
            <a:off x="371075" y="1492799"/>
            <a:ext cx="2993917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Leading logistics player with over $15B in revenue</a:t>
            </a:r>
          </a:p>
          <a:p>
            <a:pPr lvl="1">
              <a:spcBef>
                <a:spcPct val="50000"/>
              </a:spcBef>
            </a:pPr>
            <a:r>
              <a:rPr lang="en-US" sz="1200" dirty="0"/>
              <a:t>Flat revenue and margin growth in its largest business group</a:t>
            </a:r>
          </a:p>
          <a:p>
            <a:pPr lvl="1">
              <a:spcBef>
                <a:spcPct val="50000"/>
              </a:spcBef>
            </a:pPr>
            <a:r>
              <a:rPr lang="en-US" sz="1200" dirty="0"/>
              <a:t>5 data scientists working for 2 years to develop complex churn and pricing models with limited sales uptake of tools and process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3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11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17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64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106538"/>
              </p:ext>
            </p:extLst>
          </p:nvPr>
        </p:nvGraphicFramePr>
        <p:xfrm>
          <a:off x="2547768" y="790203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73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7768" y="790203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0" name="Straight Connector 119"/>
          <p:cNvCxnSpPr/>
          <p:nvPr/>
        </p:nvCxnSpPr>
        <p:spPr>
          <a:xfrm flipH="1">
            <a:off x="4542773" y="4039159"/>
            <a:ext cx="781" cy="1498811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 flipH="1">
            <a:off x="7426311" y="4039159"/>
            <a:ext cx="781" cy="1498811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</p:cNvCxnSpPr>
          <p:nvPr/>
        </p:nvCxnSpPr>
        <p:spPr>
          <a:xfrm flipH="1">
            <a:off x="5833286" y="1832991"/>
            <a:ext cx="0" cy="1826698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58781" y="415321"/>
            <a:ext cx="11493417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Used the analytics to identify better customer leads (and the customer’s revenue potential</a:t>
            </a:r>
            <a:r>
              <a:rPr lang="en-US" sz="2400" dirty="0" smtClean="0"/>
              <a:t>) and </a:t>
            </a:r>
            <a:r>
              <a:rPr lang="en-US" sz="2400" dirty="0"/>
              <a:t>design sales routines and coverage model to increase focus on new business</a:t>
            </a:r>
          </a:p>
        </p:txBody>
      </p:sp>
      <p:sp>
        <p:nvSpPr>
          <p:cNvPr id="91" name="1. On-page tracker">
            <a:extLst>
              <a:ext uri="{FF2B5EF4-FFF2-40B4-BE49-F238E27FC236}">
                <a16:creationId xmlns:a16="http://schemas.microsoft.com/office/drawing/2014/main" xmlns="" id="{B03FD7B1-5990-4628-B723-E73A51AC17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81" y="124589"/>
            <a:ext cx="97783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OVERAGE MOD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E95633F3-4DA0-422C-8F45-3037974EF7AD}"/>
              </a:ext>
            </a:extLst>
          </p:cNvPr>
          <p:cNvSpPr>
            <a:spLocks/>
          </p:cNvSpPr>
          <p:nvPr/>
        </p:nvSpPr>
        <p:spPr>
          <a:xfrm>
            <a:off x="1524840" y="3763684"/>
            <a:ext cx="8794113" cy="1828571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txBody>
          <a:bodyPr vert="horz" wrap="square" lIns="55104" tIns="55104" rIns="55104" bIns="55104" rtlCol="0" anchor="ctr" anchorCtr="0">
            <a:noAutofit/>
          </a:bodyPr>
          <a:lstStyle/>
          <a:p>
            <a:pPr defTabSz="685122">
              <a:buClr>
                <a:schemeClr val="tx2"/>
              </a:buClr>
              <a:buSzPct val="100000"/>
            </a:pPr>
            <a:endParaRPr lang="en-US" sz="1071" dirty="0" err="1"/>
          </a:p>
        </p:txBody>
      </p:sp>
      <p:sp>
        <p:nvSpPr>
          <p:cNvPr id="64" name="Rectangle 3">
            <a:extLst>
              <a:ext uri="{FF2B5EF4-FFF2-40B4-BE49-F238E27FC236}">
                <a16:creationId xmlns:a16="http://schemas.microsoft.com/office/drawing/2014/main" xmlns="" id="{544A1ABD-C9D3-48B7-AD8C-62C17ED82506}"/>
              </a:ext>
            </a:extLst>
          </p:cNvPr>
          <p:cNvSpPr txBox="1">
            <a:spLocks/>
          </p:cNvSpPr>
          <p:nvPr/>
        </p:nvSpPr>
        <p:spPr bwMode="gray">
          <a:xfrm>
            <a:off x="1524840" y="3763684"/>
            <a:ext cx="8794113" cy="35200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55104" tIns="55104" rIns="55104" bIns="5510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555" lvl="1" indent="0" defTabSz="895350">
              <a:buClr>
                <a:srgbClr val="006699"/>
              </a:buClr>
              <a:buSzPct val="125000"/>
              <a:buFont typeface="Arial" charset="0"/>
              <a:buNone/>
              <a:defRPr sz="1200" b="1">
                <a:solidFill>
                  <a:schemeClr val="tx2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endParaRPr lang="en-US" sz="918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49D91CF0-44A3-4C02-B580-A07417243483}"/>
              </a:ext>
            </a:extLst>
          </p:cNvPr>
          <p:cNvSpPr txBox="1"/>
          <p:nvPr/>
        </p:nvSpPr>
        <p:spPr>
          <a:xfrm>
            <a:off x="1571848" y="3793040"/>
            <a:ext cx="2796654" cy="282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18" b="1" dirty="0">
                <a:solidFill>
                  <a:schemeClr val="accent3"/>
                </a:solidFill>
              </a:rPr>
              <a:t>We further identified rep call patterns against account performance …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2A30120C-7FFD-4424-982D-37E2308E1D15}"/>
              </a:ext>
            </a:extLst>
          </p:cNvPr>
          <p:cNvSpPr txBox="1"/>
          <p:nvPr/>
        </p:nvSpPr>
        <p:spPr>
          <a:xfrm>
            <a:off x="4717824" y="3793040"/>
            <a:ext cx="2534217" cy="282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90" lvl="1" indent="0">
              <a:buClr>
                <a:srgbClr val="006699"/>
              </a:buClr>
              <a:buNone/>
            </a:pPr>
            <a:r>
              <a:rPr lang="en-US" sz="918" b="1" dirty="0">
                <a:solidFill>
                  <a:schemeClr val="accent3"/>
                </a:solidFill>
              </a:rPr>
              <a:t>… which helped reps visualize valuable return on invested time…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xmlns="" id="{3B318EBC-8B94-4B9D-ABCF-68EE6A7B0BF6}"/>
              </a:ext>
            </a:extLst>
          </p:cNvPr>
          <p:cNvSpPr txBox="1"/>
          <p:nvPr/>
        </p:nvSpPr>
        <p:spPr>
          <a:xfrm>
            <a:off x="7601364" y="3793040"/>
            <a:ext cx="2670578" cy="282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90" lvl="1" indent="0">
              <a:buClr>
                <a:srgbClr val="006699"/>
              </a:buClr>
              <a:buNone/>
            </a:pPr>
            <a:r>
              <a:rPr lang="en-US" sz="918" b="1" dirty="0">
                <a:solidFill>
                  <a:schemeClr val="accent3"/>
                </a:solidFill>
              </a:rPr>
              <a:t>… and produced optimal coverage model when applied with analytic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7CD49ECA-ADBA-4DC0-89A5-4CBFC0F95341}"/>
              </a:ext>
            </a:extLst>
          </p:cNvPr>
          <p:cNvSpPr>
            <a:spLocks/>
          </p:cNvSpPr>
          <p:nvPr/>
        </p:nvSpPr>
        <p:spPr>
          <a:xfrm>
            <a:off x="1524840" y="1521685"/>
            <a:ext cx="8794113" cy="2173580"/>
          </a:xfrm>
          <a:prstGeom prst="rect">
            <a:avLst/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 err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CA89FAD-FEC3-44EC-B004-D4ED62BBDD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4803" y="1953298"/>
            <a:ext cx="4049796" cy="1687980"/>
          </a:xfrm>
          <a:prstGeom prst="rect">
            <a:avLst/>
          </a:prstGeom>
          <a:effectLst/>
        </p:spPr>
      </p:pic>
      <p:sp>
        <p:nvSpPr>
          <p:cNvPr id="62" name="Rectangle 3">
            <a:extLst>
              <a:ext uri="{FF2B5EF4-FFF2-40B4-BE49-F238E27FC236}">
                <a16:creationId xmlns:a16="http://schemas.microsoft.com/office/drawing/2014/main" xmlns="" id="{97A1798D-7F04-42A7-862E-558E2EF8B94F}"/>
              </a:ext>
            </a:extLst>
          </p:cNvPr>
          <p:cNvSpPr txBox="1">
            <a:spLocks/>
          </p:cNvSpPr>
          <p:nvPr/>
        </p:nvSpPr>
        <p:spPr bwMode="gray">
          <a:xfrm>
            <a:off x="1524840" y="1521685"/>
            <a:ext cx="8794113" cy="352001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55104" tIns="55104" rIns="55104" bIns="5510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555" lvl="1" indent="0" defTabSz="895350">
              <a:buClr>
                <a:srgbClr val="006699"/>
              </a:buClr>
              <a:buSzPct val="125000"/>
              <a:buFont typeface="Arial" charset="0"/>
              <a:buNone/>
              <a:defRPr sz="1200" b="1">
                <a:solidFill>
                  <a:schemeClr val="bg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endParaRPr lang="en-US" sz="918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6CCCA36B-AB6F-4326-841A-B11F1568E2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6454" y="1919157"/>
            <a:ext cx="3241750" cy="1756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E8F6C1C-D750-410A-899F-F2B737B7E8EB}"/>
              </a:ext>
            </a:extLst>
          </p:cNvPr>
          <p:cNvSpPr txBox="1">
            <a:spLocks/>
          </p:cNvSpPr>
          <p:nvPr/>
        </p:nvSpPr>
        <p:spPr>
          <a:xfrm>
            <a:off x="1645342" y="1564102"/>
            <a:ext cx="3923977" cy="274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18" b="1" dirty="0">
                <a:solidFill>
                  <a:schemeClr val="bg1"/>
                </a:solidFill>
              </a:rPr>
              <a:t>We used full potential analytics to develop segmentation based on current and future potential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A5AD262A-18EB-4F0D-A7B1-2037B57C0745}"/>
              </a:ext>
            </a:extLst>
          </p:cNvPr>
          <p:cNvSpPr txBox="1">
            <a:spLocks/>
          </p:cNvSpPr>
          <p:nvPr/>
        </p:nvSpPr>
        <p:spPr>
          <a:xfrm>
            <a:off x="6124883" y="1564102"/>
            <a:ext cx="4009634" cy="282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90" lvl="1" indent="0">
              <a:buClr>
                <a:srgbClr val="006699"/>
              </a:buClr>
              <a:buNone/>
            </a:pPr>
            <a:r>
              <a:rPr lang="en-US" sz="918" b="1" dirty="0">
                <a:solidFill>
                  <a:schemeClr val="bg1"/>
                </a:solidFill>
              </a:rPr>
              <a:t>… and identified the optimal customer call pattern to free Rep capacity for prospecting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711996" y="1587936"/>
            <a:ext cx="270209" cy="226642"/>
            <a:chOff x="4216212" y="1080320"/>
            <a:chExt cx="261020" cy="30514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xmlns="" id="{5C45D530-7F04-49F9-AE99-3EB77AB791C7}"/>
                </a:ext>
              </a:extLst>
            </p:cNvPr>
            <p:cNvGrpSpPr/>
            <p:nvPr/>
          </p:nvGrpSpPr>
          <p:grpSpPr bwMode="gray">
            <a:xfrm>
              <a:off x="4216212" y="1080320"/>
              <a:ext cx="173819" cy="305149"/>
              <a:chOff x="4816185" y="1082677"/>
              <a:chExt cx="710739" cy="1230623"/>
            </a:xfrm>
            <a:solidFill>
              <a:schemeClr val="bg1"/>
            </a:solidFill>
          </p:grpSpPr>
          <p:sp>
            <p:nvSpPr>
              <p:cNvPr id="45" name="Freeform 234">
                <a:extLst>
                  <a:ext uri="{FF2B5EF4-FFF2-40B4-BE49-F238E27FC236}">
                    <a16:creationId xmlns:a16="http://schemas.microsoft.com/office/drawing/2014/main" xmlns="" id="{481B93CB-098F-4CD3-9B8D-0E1A59C61C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4" y="1389997"/>
                <a:ext cx="356030" cy="308651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6" name="Freeform 252">
                <a:extLst>
                  <a:ext uri="{FF2B5EF4-FFF2-40B4-BE49-F238E27FC236}">
                    <a16:creationId xmlns:a16="http://schemas.microsoft.com/office/drawing/2014/main" xmlns="" id="{42B9C9AB-D540-480F-829F-F55E693DF1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185" y="2005980"/>
                <a:ext cx="354705" cy="307320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7" name="Freeform 274">
                <a:extLst>
                  <a:ext uri="{FF2B5EF4-FFF2-40B4-BE49-F238E27FC236}">
                    <a16:creationId xmlns:a16="http://schemas.microsoft.com/office/drawing/2014/main" xmlns="" id="{377507CC-8E7A-4F80-8224-05D0508F9C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698656"/>
                <a:ext cx="354705" cy="307320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8" name="Freeform 340">
                <a:extLst>
                  <a:ext uri="{FF2B5EF4-FFF2-40B4-BE49-F238E27FC236}">
                    <a16:creationId xmlns:a16="http://schemas.microsoft.com/office/drawing/2014/main" xmlns="" id="{2A13D323-FEF7-4ECE-B8C4-2AE5E97FD1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082677"/>
                <a:ext cx="354705" cy="307320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49" name="Freeform 914">
                <a:extLst>
                  <a:ext uri="{FF2B5EF4-FFF2-40B4-BE49-F238E27FC236}">
                    <a16:creationId xmlns:a16="http://schemas.microsoft.com/office/drawing/2014/main" xmlns="" id="{715DD8C9-7DC4-4F53-903C-0462F49643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185" y="1082677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0" name="Freeform 940">
                <a:extLst>
                  <a:ext uri="{FF2B5EF4-FFF2-40B4-BE49-F238E27FC236}">
                    <a16:creationId xmlns:a16="http://schemas.microsoft.com/office/drawing/2014/main" xmlns="" id="{0BE85296-5403-4CFB-A553-E7EF8D3499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389997"/>
                <a:ext cx="354705" cy="308651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1" name="Freeform 966">
                <a:extLst>
                  <a:ext uri="{FF2B5EF4-FFF2-40B4-BE49-F238E27FC236}">
                    <a16:creationId xmlns:a16="http://schemas.microsoft.com/office/drawing/2014/main" xmlns="" id="{73BA6460-551D-4B78-8BE0-7F50B01281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4" y="1698656"/>
                <a:ext cx="356030" cy="307320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2" name="Freeform 1016">
                <a:extLst>
                  <a:ext uri="{FF2B5EF4-FFF2-40B4-BE49-F238E27FC236}">
                    <a16:creationId xmlns:a16="http://schemas.microsoft.com/office/drawing/2014/main" xmlns="" id="{C7B20A35-A064-489C-93D1-D5B791710D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2005976"/>
                <a:ext cx="354705" cy="307320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xmlns="" id="{BE5EB612-9471-41BA-99D9-AA87830A921A}"/>
                </a:ext>
              </a:extLst>
            </p:cNvPr>
            <p:cNvGrpSpPr/>
            <p:nvPr/>
          </p:nvGrpSpPr>
          <p:grpSpPr bwMode="gray">
            <a:xfrm>
              <a:off x="4303737" y="1080320"/>
              <a:ext cx="173495" cy="305149"/>
              <a:chOff x="5170891" y="1082677"/>
              <a:chExt cx="709414" cy="1230623"/>
            </a:xfrm>
            <a:solidFill>
              <a:schemeClr val="bg1"/>
            </a:solidFill>
          </p:grpSpPr>
          <p:sp>
            <p:nvSpPr>
              <p:cNvPr id="54" name="Freeform 236">
                <a:extLst>
                  <a:ext uri="{FF2B5EF4-FFF2-40B4-BE49-F238E27FC236}">
                    <a16:creationId xmlns:a16="http://schemas.microsoft.com/office/drawing/2014/main" xmlns="" id="{EAA5F681-9910-4628-BE09-390A874C33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1" y="2005980"/>
                <a:ext cx="354705" cy="307320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5" name="Freeform 238">
                <a:extLst>
                  <a:ext uri="{FF2B5EF4-FFF2-40B4-BE49-F238E27FC236}">
                    <a16:creationId xmlns:a16="http://schemas.microsoft.com/office/drawing/2014/main" xmlns="" id="{F16690B8-25A2-4903-B4CD-DA1E833BEE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5596" y="1389997"/>
                <a:ext cx="354705" cy="308651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6" name="Freeform 280">
                <a:extLst>
                  <a:ext uri="{FF2B5EF4-FFF2-40B4-BE49-F238E27FC236}">
                    <a16:creationId xmlns:a16="http://schemas.microsoft.com/office/drawing/2014/main" xmlns="" id="{2711495F-A3A6-47E1-B450-C3F541F10E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698656"/>
                <a:ext cx="356030" cy="307320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7" name="Freeform 333">
                <a:extLst>
                  <a:ext uri="{FF2B5EF4-FFF2-40B4-BE49-F238E27FC236}">
                    <a16:creationId xmlns:a16="http://schemas.microsoft.com/office/drawing/2014/main" xmlns="" id="{5E63311A-0695-45CD-9340-C6AE6F9718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082677"/>
                <a:ext cx="356030" cy="307320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8" name="Freeform 913">
                <a:extLst>
                  <a:ext uri="{FF2B5EF4-FFF2-40B4-BE49-F238E27FC236}">
                    <a16:creationId xmlns:a16="http://schemas.microsoft.com/office/drawing/2014/main" xmlns="" id="{087F9534-5F8D-460A-843A-A991F465E2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1" y="1082677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59" name="Freeform 939">
                <a:extLst>
                  <a:ext uri="{FF2B5EF4-FFF2-40B4-BE49-F238E27FC236}">
                    <a16:creationId xmlns:a16="http://schemas.microsoft.com/office/drawing/2014/main" xmlns="" id="{F675756B-1C40-4357-9AE4-896E85A623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389997"/>
                <a:ext cx="356030" cy="308651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60" name="Freeform 965">
                <a:extLst>
                  <a:ext uri="{FF2B5EF4-FFF2-40B4-BE49-F238E27FC236}">
                    <a16:creationId xmlns:a16="http://schemas.microsoft.com/office/drawing/2014/main" xmlns="" id="{CDFB31DB-D70E-409F-8417-484AEBDB17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5600" y="1698656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61" name="Freeform 1010">
                <a:extLst>
                  <a:ext uri="{FF2B5EF4-FFF2-40B4-BE49-F238E27FC236}">
                    <a16:creationId xmlns:a16="http://schemas.microsoft.com/office/drawing/2014/main" xmlns="" id="{9408BC4A-37FA-4E5B-ABD1-DBF34C486F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2005976"/>
                <a:ext cx="356030" cy="307320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pic>
        <p:nvPicPr>
          <p:cNvPr id="93" name="Picture 92">
            <a:extLst>
              <a:ext uri="{FF2B5EF4-FFF2-40B4-BE49-F238E27FC236}">
                <a16:creationId xmlns:a16="http://schemas.microsoft.com/office/drawing/2014/main" xmlns="" id="{0FCC8D46-ACDC-45C5-A742-B02FADE3B3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71849" y="4157010"/>
            <a:ext cx="2788341" cy="1407434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xmlns="" id="{D50ECF76-8DDD-4270-AF17-1EFADFE2B7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09" y="4183483"/>
            <a:ext cx="2506448" cy="1354486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xmlns="" id="{38F8BF17-E440-445C-873A-0D1EC43F50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01814" y="4180216"/>
            <a:ext cx="2669674" cy="1361022"/>
          </a:xfrm>
          <a:prstGeom prst="rect">
            <a:avLst/>
          </a:prstGeom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xmlns="" id="{96CAE5FD-BD42-4A7A-80FB-65FFE79FC898}"/>
              </a:ext>
            </a:extLst>
          </p:cNvPr>
          <p:cNvGrpSpPr/>
          <p:nvPr/>
        </p:nvGrpSpPr>
        <p:grpSpPr>
          <a:xfrm>
            <a:off x="4408058" y="3824362"/>
            <a:ext cx="270209" cy="226642"/>
            <a:chOff x="4216212" y="1080320"/>
            <a:chExt cx="261020" cy="305149"/>
          </a:xfrm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xmlns="" id="{60FB64C4-478C-450B-947F-68E0BB240A18}"/>
                </a:ext>
              </a:extLst>
            </p:cNvPr>
            <p:cNvGrpSpPr/>
            <p:nvPr/>
          </p:nvGrpSpPr>
          <p:grpSpPr bwMode="gray">
            <a:xfrm>
              <a:off x="4216212" y="1080320"/>
              <a:ext cx="173819" cy="305149"/>
              <a:chOff x="4816185" y="1082677"/>
              <a:chExt cx="710739" cy="1230623"/>
            </a:xfrm>
            <a:solidFill>
              <a:schemeClr val="bg1"/>
            </a:solidFill>
          </p:grpSpPr>
          <p:sp>
            <p:nvSpPr>
              <p:cNvPr id="134" name="Freeform 234">
                <a:extLst>
                  <a:ext uri="{FF2B5EF4-FFF2-40B4-BE49-F238E27FC236}">
                    <a16:creationId xmlns:a16="http://schemas.microsoft.com/office/drawing/2014/main" xmlns="" id="{D744E98E-8E22-4E94-96AC-F6D385D88A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4" y="1389997"/>
                <a:ext cx="356030" cy="308651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5" name="Freeform 252">
                <a:extLst>
                  <a:ext uri="{FF2B5EF4-FFF2-40B4-BE49-F238E27FC236}">
                    <a16:creationId xmlns:a16="http://schemas.microsoft.com/office/drawing/2014/main" xmlns="" id="{3C971FC7-11FE-47E7-9108-E118A8BD88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185" y="2005980"/>
                <a:ext cx="354705" cy="307320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6" name="Freeform 274">
                <a:extLst>
                  <a:ext uri="{FF2B5EF4-FFF2-40B4-BE49-F238E27FC236}">
                    <a16:creationId xmlns:a16="http://schemas.microsoft.com/office/drawing/2014/main" xmlns="" id="{4F7E92BE-0281-4BF8-B4EE-0C4C5F59B1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698656"/>
                <a:ext cx="354705" cy="307320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7" name="Freeform 340">
                <a:extLst>
                  <a:ext uri="{FF2B5EF4-FFF2-40B4-BE49-F238E27FC236}">
                    <a16:creationId xmlns:a16="http://schemas.microsoft.com/office/drawing/2014/main" xmlns="" id="{D104AFEB-CA2B-47FF-9CFA-9D4908B415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082677"/>
                <a:ext cx="354705" cy="307320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8" name="Freeform 914">
                <a:extLst>
                  <a:ext uri="{FF2B5EF4-FFF2-40B4-BE49-F238E27FC236}">
                    <a16:creationId xmlns:a16="http://schemas.microsoft.com/office/drawing/2014/main" xmlns="" id="{45416B9F-A2B4-4649-BD41-2F22C049A0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185" y="1082677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9" name="Freeform 940">
                <a:extLst>
                  <a:ext uri="{FF2B5EF4-FFF2-40B4-BE49-F238E27FC236}">
                    <a16:creationId xmlns:a16="http://schemas.microsoft.com/office/drawing/2014/main" xmlns="" id="{EB9B5E37-ED23-491C-AB34-2958CA69D7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389997"/>
                <a:ext cx="354705" cy="308651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40" name="Freeform 966">
                <a:extLst>
                  <a:ext uri="{FF2B5EF4-FFF2-40B4-BE49-F238E27FC236}">
                    <a16:creationId xmlns:a16="http://schemas.microsoft.com/office/drawing/2014/main" xmlns="" id="{35A624F7-7263-48D7-A2CC-0A6A890A57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4" y="1698656"/>
                <a:ext cx="356030" cy="307320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41" name="Freeform 1016">
                <a:extLst>
                  <a:ext uri="{FF2B5EF4-FFF2-40B4-BE49-F238E27FC236}">
                    <a16:creationId xmlns:a16="http://schemas.microsoft.com/office/drawing/2014/main" xmlns="" id="{A5C5B8E5-CB1D-4CE4-B794-9B5CD0376A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2005976"/>
                <a:ext cx="354705" cy="307320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xmlns="" id="{01B1BFFB-E69E-4C30-99FA-F06AC2C2C1F5}"/>
                </a:ext>
              </a:extLst>
            </p:cNvPr>
            <p:cNvGrpSpPr/>
            <p:nvPr/>
          </p:nvGrpSpPr>
          <p:grpSpPr bwMode="gray">
            <a:xfrm>
              <a:off x="4303737" y="1080320"/>
              <a:ext cx="173495" cy="305149"/>
              <a:chOff x="5170891" y="1082677"/>
              <a:chExt cx="709414" cy="1230623"/>
            </a:xfrm>
            <a:solidFill>
              <a:schemeClr val="bg1"/>
            </a:solidFill>
          </p:grpSpPr>
          <p:sp>
            <p:nvSpPr>
              <p:cNvPr id="126" name="Freeform 236">
                <a:extLst>
                  <a:ext uri="{FF2B5EF4-FFF2-40B4-BE49-F238E27FC236}">
                    <a16:creationId xmlns:a16="http://schemas.microsoft.com/office/drawing/2014/main" xmlns="" id="{1F3E76D5-17DA-461C-AB79-CFC1E8CEBA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1" y="2005980"/>
                <a:ext cx="354705" cy="307320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27" name="Freeform 238">
                <a:extLst>
                  <a:ext uri="{FF2B5EF4-FFF2-40B4-BE49-F238E27FC236}">
                    <a16:creationId xmlns:a16="http://schemas.microsoft.com/office/drawing/2014/main" xmlns="" id="{30408675-F678-4817-A383-59A2B1C868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5596" y="1389997"/>
                <a:ext cx="354705" cy="308651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28" name="Freeform 280">
                <a:extLst>
                  <a:ext uri="{FF2B5EF4-FFF2-40B4-BE49-F238E27FC236}">
                    <a16:creationId xmlns:a16="http://schemas.microsoft.com/office/drawing/2014/main" xmlns="" id="{53A9F5B8-54B5-40B5-9C6C-B88D453A65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698656"/>
                <a:ext cx="356030" cy="307320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29" name="Freeform 333">
                <a:extLst>
                  <a:ext uri="{FF2B5EF4-FFF2-40B4-BE49-F238E27FC236}">
                    <a16:creationId xmlns:a16="http://schemas.microsoft.com/office/drawing/2014/main" xmlns="" id="{961C0173-E6D7-410E-9ADD-C7E12D245C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082677"/>
                <a:ext cx="356030" cy="307320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0" name="Freeform 913">
                <a:extLst>
                  <a:ext uri="{FF2B5EF4-FFF2-40B4-BE49-F238E27FC236}">
                    <a16:creationId xmlns:a16="http://schemas.microsoft.com/office/drawing/2014/main" xmlns="" id="{9B179CEB-6527-408C-B7C2-C49D09C3AE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1" y="1082677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1" name="Freeform 939">
                <a:extLst>
                  <a:ext uri="{FF2B5EF4-FFF2-40B4-BE49-F238E27FC236}">
                    <a16:creationId xmlns:a16="http://schemas.microsoft.com/office/drawing/2014/main" xmlns="" id="{99075053-A37C-4C4F-9018-F8B9B5393D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389997"/>
                <a:ext cx="356030" cy="308651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2" name="Freeform 965">
                <a:extLst>
                  <a:ext uri="{FF2B5EF4-FFF2-40B4-BE49-F238E27FC236}">
                    <a16:creationId xmlns:a16="http://schemas.microsoft.com/office/drawing/2014/main" xmlns="" id="{6CFFF3DB-E856-498B-A14E-E516EF1534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5600" y="1698656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33" name="Freeform 1010">
                <a:extLst>
                  <a:ext uri="{FF2B5EF4-FFF2-40B4-BE49-F238E27FC236}">
                    <a16:creationId xmlns:a16="http://schemas.microsoft.com/office/drawing/2014/main" xmlns="" id="{138E6E2B-6462-4700-B82C-BBA962567B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2005976"/>
                <a:ext cx="356030" cy="307320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xmlns="" id="{CBAF3210-C5A3-4D90-9336-27356188BE47}"/>
              </a:ext>
            </a:extLst>
          </p:cNvPr>
          <p:cNvGrpSpPr/>
          <p:nvPr/>
        </p:nvGrpSpPr>
        <p:grpSpPr>
          <a:xfrm>
            <a:off x="7291987" y="3824362"/>
            <a:ext cx="270209" cy="226642"/>
            <a:chOff x="4216212" y="1080320"/>
            <a:chExt cx="261020" cy="305149"/>
          </a:xfrm>
        </p:grpSpPr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xmlns="" id="{3859954C-70AB-475B-AE4B-247154E635FA}"/>
                </a:ext>
              </a:extLst>
            </p:cNvPr>
            <p:cNvGrpSpPr/>
            <p:nvPr/>
          </p:nvGrpSpPr>
          <p:grpSpPr bwMode="gray">
            <a:xfrm>
              <a:off x="4216212" y="1080320"/>
              <a:ext cx="173819" cy="305149"/>
              <a:chOff x="4816185" y="1082677"/>
              <a:chExt cx="710739" cy="1230623"/>
            </a:xfrm>
            <a:solidFill>
              <a:schemeClr val="bg1"/>
            </a:solidFill>
          </p:grpSpPr>
          <p:sp>
            <p:nvSpPr>
              <p:cNvPr id="153" name="Freeform 234">
                <a:extLst>
                  <a:ext uri="{FF2B5EF4-FFF2-40B4-BE49-F238E27FC236}">
                    <a16:creationId xmlns:a16="http://schemas.microsoft.com/office/drawing/2014/main" xmlns="" id="{F311056E-1DAF-4B3C-82A8-232DB96F08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4" y="1389997"/>
                <a:ext cx="356030" cy="308651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4" name="Freeform 252">
                <a:extLst>
                  <a:ext uri="{FF2B5EF4-FFF2-40B4-BE49-F238E27FC236}">
                    <a16:creationId xmlns:a16="http://schemas.microsoft.com/office/drawing/2014/main" xmlns="" id="{FEF6AD64-0308-421B-83E4-310161FCE3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185" y="2005980"/>
                <a:ext cx="354705" cy="307320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5" name="Freeform 274">
                <a:extLst>
                  <a:ext uri="{FF2B5EF4-FFF2-40B4-BE49-F238E27FC236}">
                    <a16:creationId xmlns:a16="http://schemas.microsoft.com/office/drawing/2014/main" xmlns="" id="{83B3EC76-A88C-46C4-85B5-3D60274D49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698656"/>
                <a:ext cx="354705" cy="307320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6" name="Freeform 340">
                <a:extLst>
                  <a:ext uri="{FF2B5EF4-FFF2-40B4-BE49-F238E27FC236}">
                    <a16:creationId xmlns:a16="http://schemas.microsoft.com/office/drawing/2014/main" xmlns="" id="{0E69DB5B-41DE-4461-87BA-4A3459BE8E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082677"/>
                <a:ext cx="354705" cy="307320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7" name="Freeform 914">
                <a:extLst>
                  <a:ext uri="{FF2B5EF4-FFF2-40B4-BE49-F238E27FC236}">
                    <a16:creationId xmlns:a16="http://schemas.microsoft.com/office/drawing/2014/main" xmlns="" id="{FF578F78-D574-4495-83A1-1B70666D61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185" y="1082677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8" name="Freeform 940">
                <a:extLst>
                  <a:ext uri="{FF2B5EF4-FFF2-40B4-BE49-F238E27FC236}">
                    <a16:creationId xmlns:a16="http://schemas.microsoft.com/office/drawing/2014/main" xmlns="" id="{26D878B4-B289-4636-AC0F-2A8919D887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1389997"/>
                <a:ext cx="354705" cy="308651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9" name="Freeform 966">
                <a:extLst>
                  <a:ext uri="{FF2B5EF4-FFF2-40B4-BE49-F238E27FC236}">
                    <a16:creationId xmlns:a16="http://schemas.microsoft.com/office/drawing/2014/main" xmlns="" id="{5C37EF9D-4DD5-454E-B051-3737E098F0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4" y="1698656"/>
                <a:ext cx="356030" cy="307320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60" name="Freeform 1016">
                <a:extLst>
                  <a:ext uri="{FF2B5EF4-FFF2-40B4-BE49-F238E27FC236}">
                    <a16:creationId xmlns:a16="http://schemas.microsoft.com/office/drawing/2014/main" xmlns="" id="{CE653E09-40D8-4AD7-98EC-84604B73CD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4202" y="2005976"/>
                <a:ext cx="354705" cy="307320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xmlns="" id="{4FD2CEB4-1EDD-4A0B-8AB1-01BA5AD96FC9}"/>
                </a:ext>
              </a:extLst>
            </p:cNvPr>
            <p:cNvGrpSpPr/>
            <p:nvPr/>
          </p:nvGrpSpPr>
          <p:grpSpPr bwMode="gray">
            <a:xfrm>
              <a:off x="4303737" y="1080320"/>
              <a:ext cx="173495" cy="305149"/>
              <a:chOff x="5170891" y="1082677"/>
              <a:chExt cx="709414" cy="1230623"/>
            </a:xfrm>
            <a:solidFill>
              <a:schemeClr val="bg1"/>
            </a:solidFill>
          </p:grpSpPr>
          <p:sp>
            <p:nvSpPr>
              <p:cNvPr id="145" name="Freeform 236">
                <a:extLst>
                  <a:ext uri="{FF2B5EF4-FFF2-40B4-BE49-F238E27FC236}">
                    <a16:creationId xmlns:a16="http://schemas.microsoft.com/office/drawing/2014/main" xmlns="" id="{74592974-3581-43F8-A416-786C425414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1" y="2005980"/>
                <a:ext cx="354705" cy="307320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46" name="Freeform 238">
                <a:extLst>
                  <a:ext uri="{FF2B5EF4-FFF2-40B4-BE49-F238E27FC236}">
                    <a16:creationId xmlns:a16="http://schemas.microsoft.com/office/drawing/2014/main" xmlns="" id="{77689DE7-87F5-4AF2-853C-194BCB2798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5596" y="1389997"/>
                <a:ext cx="354705" cy="308651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47" name="Freeform 280">
                <a:extLst>
                  <a:ext uri="{FF2B5EF4-FFF2-40B4-BE49-F238E27FC236}">
                    <a16:creationId xmlns:a16="http://schemas.microsoft.com/office/drawing/2014/main" xmlns="" id="{6AA13B27-6596-4E2D-80A9-357FB45C6C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698656"/>
                <a:ext cx="356030" cy="307320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48" name="Freeform 333">
                <a:extLst>
                  <a:ext uri="{FF2B5EF4-FFF2-40B4-BE49-F238E27FC236}">
                    <a16:creationId xmlns:a16="http://schemas.microsoft.com/office/drawing/2014/main" xmlns="" id="{4652BF02-2C6E-4597-8951-B7D296340F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082677"/>
                <a:ext cx="356030" cy="307320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49" name="Freeform 913">
                <a:extLst>
                  <a:ext uri="{FF2B5EF4-FFF2-40B4-BE49-F238E27FC236}">
                    <a16:creationId xmlns:a16="http://schemas.microsoft.com/office/drawing/2014/main" xmlns="" id="{1A23ED86-A615-4B50-AE10-7FBD7B8176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0891" y="1082677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0" name="Freeform 939">
                <a:extLst>
                  <a:ext uri="{FF2B5EF4-FFF2-40B4-BE49-F238E27FC236}">
                    <a16:creationId xmlns:a16="http://schemas.microsoft.com/office/drawing/2014/main" xmlns="" id="{51A9E060-8F11-48B9-B54A-483198B388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1389997"/>
                <a:ext cx="356030" cy="308651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1" name="Freeform 965">
                <a:extLst>
                  <a:ext uri="{FF2B5EF4-FFF2-40B4-BE49-F238E27FC236}">
                    <a16:creationId xmlns:a16="http://schemas.microsoft.com/office/drawing/2014/main" xmlns="" id="{0D2B7455-5192-4DA3-AE99-C4F9A76439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5600" y="1698656"/>
                <a:ext cx="354705" cy="307320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52" name="Freeform 1010">
                <a:extLst>
                  <a:ext uri="{FF2B5EF4-FFF2-40B4-BE49-F238E27FC236}">
                    <a16:creationId xmlns:a16="http://schemas.microsoft.com/office/drawing/2014/main" xmlns="" id="{A80F2E60-D22D-4739-960A-C87DB5D1B0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47579" y="2005976"/>
                <a:ext cx="356030" cy="307320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65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6803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461055"/>
              </p:ext>
            </p:extLst>
          </p:nvPr>
        </p:nvGraphicFramePr>
        <p:xfrm>
          <a:off x="2547768" y="790203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7" name="think-cell Slide" r:id="rId7" imgW="526" imgH="526" progId="TCLayout.ActiveDocument.1">
                  <p:embed/>
                </p:oleObj>
              </mc:Choice>
              <mc:Fallback>
                <p:oleObj name="think-cell Slide" r:id="rId7" imgW="526" imgH="526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547768" y="790203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58781" y="230190"/>
            <a:ext cx="10576275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Pilot within 8 weeks with digital visualizations and McKinsey implementation support to </a:t>
            </a:r>
            <a:r>
              <a:rPr lang="en-US" sz="2400" dirty="0" smtClean="0"/>
              <a:t>prove </a:t>
            </a:r>
            <a:r>
              <a:rPr lang="en-US" sz="2400" dirty="0"/>
              <a:t>analytics drive value – transitioned to client and scaled to 400+ sellers</a:t>
            </a: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1568357" y="1549690"/>
            <a:ext cx="8703586" cy="403795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58311" tIns="58311" rIns="58311" bIns="58311" numCol="1" anchor="t" anchorCtr="0" compatLnSpc="1">
            <a:prstTxWarp prst="textNoShape">
              <a:avLst/>
            </a:prstTxWarp>
            <a:noAutofit/>
          </a:bodyPr>
          <a:lstStyle/>
          <a:p>
            <a:pPr defTabSz="685049">
              <a:buClr>
                <a:schemeClr val="tx2"/>
              </a:buClr>
            </a:pPr>
            <a:endParaRPr lang="en-US" sz="1300" dirty="0">
              <a:latin typeface="+mn-lt"/>
            </a:endParaRPr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xmlns="" id="{E831FE8A-A84F-4CCD-A960-DFD7BF99CFB4}"/>
              </a:ext>
            </a:extLst>
          </p:cNvPr>
          <p:cNvSpPr txBox="1">
            <a:spLocks/>
          </p:cNvSpPr>
          <p:nvPr/>
        </p:nvSpPr>
        <p:spPr>
          <a:xfrm>
            <a:off x="1674085" y="1642016"/>
            <a:ext cx="1194351" cy="1400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5104" tIns="55104" rIns="55104" bIns="55104" rtlCol="0" anchor="ctr" anchorCtr="0">
            <a:noAutofit/>
          </a:bodyPr>
          <a:lstStyle/>
          <a:p>
            <a:r>
              <a:rPr lang="en-US" sz="1300" b="1" dirty="0">
                <a:solidFill>
                  <a:schemeClr val="accent3"/>
                </a:solidFill>
                <a:latin typeface="+mn-lt"/>
              </a:rPr>
              <a:t>Translated the analytics insights for the front line</a:t>
            </a: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2957698" y="1642016"/>
            <a:ext cx="3777297" cy="14003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dirty="0"/>
              <a:t>Generated a set of actionable insights for each priority customer based on the analytics (e.g., specific price levers driving the opportunity, peer customers who also converted)</a:t>
            </a:r>
          </a:p>
          <a:p>
            <a:pPr lvl="1"/>
            <a:r>
              <a:rPr lang="en-US" sz="1300" dirty="0"/>
              <a:t>Worked with front line managers to ensure  data-driven, action-orientated coaching would occur with every Rep</a:t>
            </a:r>
          </a:p>
        </p:txBody>
      </p:sp>
      <p:pic>
        <p:nvPicPr>
          <p:cNvPr id="59" name="Picture 1" descr="aW1hZ2UwMDQuanBn@468792786C7C28288525818A0050897F">
            <a:extLst>
              <a:ext uri="{FF2B5EF4-FFF2-40B4-BE49-F238E27FC236}">
                <a16:creationId xmlns:a16="http://schemas.microsoft.com/office/drawing/2014/main" xmlns="" id="{50BBF323-302F-49B7-979C-011C3C5EBD53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 t="42838" r="44394"/>
          <a:stretch/>
        </p:blipFill>
        <p:spPr bwMode="auto">
          <a:xfrm>
            <a:off x="8768155" y="2328728"/>
            <a:ext cx="1398063" cy="60624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5AF86C4B-5936-4087-B14F-1C7ECD40406A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8208012" y="1999178"/>
            <a:ext cx="1120284" cy="82723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DA978EA1-C2DC-428A-8B1A-F05E296EA1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95357" y="1749446"/>
            <a:ext cx="1596948" cy="1129396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403" name="Straight Connector 402">
            <a:extLst>
              <a:ext uri="{FF2B5EF4-FFF2-40B4-BE49-F238E27FC236}">
                <a16:creationId xmlns:a16="http://schemas.microsoft.com/office/drawing/2014/main" xmlns="" id="{9E12EBD3-9E47-4903-88E4-A0D8AD2BBCC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2957697" y="3104949"/>
            <a:ext cx="7208520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4" name="TextBox 403">
            <a:extLst>
              <a:ext uri="{FF2B5EF4-FFF2-40B4-BE49-F238E27FC236}">
                <a16:creationId xmlns:a16="http://schemas.microsoft.com/office/drawing/2014/main" xmlns="" id="{202C9B07-F02B-42B0-81A3-121200271D8E}"/>
              </a:ext>
            </a:extLst>
          </p:cNvPr>
          <p:cNvSpPr txBox="1">
            <a:spLocks/>
          </p:cNvSpPr>
          <p:nvPr/>
        </p:nvSpPr>
        <p:spPr>
          <a:xfrm>
            <a:off x="1674085" y="3167500"/>
            <a:ext cx="1194351" cy="23278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5104" tIns="55104" rIns="55104" bIns="55104" rtlCol="0" anchor="ctr" anchorCtr="0">
            <a:noAutofit/>
          </a:bodyPr>
          <a:lstStyle/>
          <a:p>
            <a:r>
              <a:rPr lang="en-US" sz="1300" b="1" dirty="0">
                <a:solidFill>
                  <a:schemeClr val="accent3"/>
                </a:solidFill>
                <a:latin typeface="+mn-lt"/>
              </a:rPr>
              <a:t>Built frontline sales capabilities using our Build, Operate, Transfer model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B03E2F5-6BA2-4D0B-81BC-724458CD630E}"/>
              </a:ext>
            </a:extLst>
          </p:cNvPr>
          <p:cNvSpPr txBox="1">
            <a:spLocks/>
          </p:cNvSpPr>
          <p:nvPr/>
        </p:nvSpPr>
        <p:spPr>
          <a:xfrm>
            <a:off x="2957697" y="4947029"/>
            <a:ext cx="801190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accent3"/>
                </a:solidFill>
              </a:rPr>
              <a:t>Client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xmlns="" id="{C56A7094-399F-4148-98E7-15BD7CCD4C4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957697" y="5221173"/>
            <a:ext cx="720852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C1DA1C81-5680-438E-BAED-9495C1AE6F28}"/>
              </a:ext>
            </a:extLst>
          </p:cNvPr>
          <p:cNvSpPr txBox="1">
            <a:spLocks/>
          </p:cNvSpPr>
          <p:nvPr/>
        </p:nvSpPr>
        <p:spPr>
          <a:xfrm>
            <a:off x="2957697" y="5295264"/>
            <a:ext cx="801190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accent3"/>
                </a:solidFill>
              </a:rPr>
              <a:t>McKinsey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D66EC06A-E7B5-432F-8B68-6BE4415867BA}"/>
              </a:ext>
            </a:extLst>
          </p:cNvPr>
          <p:cNvGrpSpPr/>
          <p:nvPr/>
        </p:nvGrpSpPr>
        <p:grpSpPr>
          <a:xfrm>
            <a:off x="5882855" y="3173882"/>
            <a:ext cx="264772" cy="1164805"/>
            <a:chOff x="4376978" y="2384894"/>
            <a:chExt cx="264772" cy="1164805"/>
          </a:xfrm>
        </p:grpSpPr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xmlns="" id="{E1A31A73-83E6-4A95-878A-7222F06BF3ED}"/>
                </a:ext>
              </a:extLst>
            </p:cNvPr>
            <p:cNvCxnSpPr>
              <a:cxnSpLocks/>
            </p:cNvCxnSpPr>
            <p:nvPr/>
          </p:nvCxnSpPr>
          <p:spPr>
            <a:xfrm>
              <a:off x="4507298" y="2593729"/>
              <a:ext cx="0" cy="955970"/>
            </a:xfrm>
            <a:prstGeom prst="line">
              <a:avLst/>
            </a:prstGeom>
            <a:ln w="9525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69"/>
            <p:cNvGrpSpPr/>
            <p:nvPr/>
          </p:nvGrpSpPr>
          <p:grpSpPr>
            <a:xfrm>
              <a:off x="4376978" y="2384894"/>
              <a:ext cx="264772" cy="244466"/>
              <a:chOff x="2971540" y="4081335"/>
              <a:chExt cx="261020" cy="305149"/>
            </a:xfrm>
          </p:grpSpPr>
          <p:sp>
            <p:nvSpPr>
              <p:cNvPr id="71" name="Freeform 234">
                <a:extLst>
                  <a:ext uri="{FF2B5EF4-FFF2-40B4-BE49-F238E27FC236}">
                    <a16:creationId xmlns:a16="http://schemas.microsoft.com/office/drawing/2014/main" xmlns="" id="{E06516B6-2AFD-46FE-BCC0-3C2DA9E477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8288" y="4157539"/>
                <a:ext cx="87071" cy="76534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2" name="Freeform 252">
                <a:extLst>
                  <a:ext uri="{FF2B5EF4-FFF2-40B4-BE49-F238E27FC236}">
                    <a16:creationId xmlns:a16="http://schemas.microsoft.com/office/drawing/2014/main" xmlns="" id="{86ABD2B4-A4FA-49D3-8860-2B7AB21F5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1540" y="4310280"/>
                <a:ext cx="86747" cy="76204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3" name="Freeform 274">
                <a:extLst>
                  <a:ext uri="{FF2B5EF4-FFF2-40B4-BE49-F238E27FC236}">
                    <a16:creationId xmlns:a16="http://schemas.microsoft.com/office/drawing/2014/main" xmlns="" id="{3514220B-F9BC-4E58-BFC9-97CC883039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234075"/>
                <a:ext cx="86747" cy="76204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4" name="Freeform 340">
                <a:extLst>
                  <a:ext uri="{FF2B5EF4-FFF2-40B4-BE49-F238E27FC236}">
                    <a16:creationId xmlns:a16="http://schemas.microsoft.com/office/drawing/2014/main" xmlns="" id="{D53EA489-21AE-4212-B14D-BFA36EBDB4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081335"/>
                <a:ext cx="86747" cy="76204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5" name="Freeform 914">
                <a:extLst>
                  <a:ext uri="{FF2B5EF4-FFF2-40B4-BE49-F238E27FC236}">
                    <a16:creationId xmlns:a16="http://schemas.microsoft.com/office/drawing/2014/main" xmlns="" id="{76B8EC91-726F-4240-86C9-1D32AD7189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1540" y="4081335"/>
                <a:ext cx="86747" cy="76204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6" name="Freeform 940">
                <a:extLst>
                  <a:ext uri="{FF2B5EF4-FFF2-40B4-BE49-F238E27FC236}">
                    <a16:creationId xmlns:a16="http://schemas.microsoft.com/office/drawing/2014/main" xmlns="" id="{8789995C-FAA9-4B1A-BF17-2A1C7FA44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157539"/>
                <a:ext cx="86747" cy="76534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7" name="Freeform 966">
                <a:extLst>
                  <a:ext uri="{FF2B5EF4-FFF2-40B4-BE49-F238E27FC236}">
                    <a16:creationId xmlns:a16="http://schemas.microsoft.com/office/drawing/2014/main" xmlns="" id="{AFC8B67E-64F5-43D5-8101-6EA066EC9E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8288" y="4234075"/>
                <a:ext cx="87071" cy="76204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8" name="Freeform 1016">
                <a:extLst>
                  <a:ext uri="{FF2B5EF4-FFF2-40B4-BE49-F238E27FC236}">
                    <a16:creationId xmlns:a16="http://schemas.microsoft.com/office/drawing/2014/main" xmlns="" id="{74E50662-1F7C-4AEB-92A5-C713588053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310279"/>
                <a:ext cx="86747" cy="76204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79" name="Freeform 236">
                <a:extLst>
                  <a:ext uri="{FF2B5EF4-FFF2-40B4-BE49-F238E27FC236}">
                    <a16:creationId xmlns:a16="http://schemas.microsoft.com/office/drawing/2014/main" xmlns="" id="{37E06C0D-625E-4CF8-8A50-30130D9F19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9065" y="4310280"/>
                <a:ext cx="86747" cy="76204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0" name="Freeform 238">
                <a:extLst>
                  <a:ext uri="{FF2B5EF4-FFF2-40B4-BE49-F238E27FC236}">
                    <a16:creationId xmlns:a16="http://schemas.microsoft.com/office/drawing/2014/main" xmlns="" id="{C23F0FC4-602E-40FB-9E04-9F1AD61C74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5812" y="4157539"/>
                <a:ext cx="86747" cy="76534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1" name="Freeform 280">
                <a:extLst>
                  <a:ext uri="{FF2B5EF4-FFF2-40B4-BE49-F238E27FC236}">
                    <a16:creationId xmlns:a16="http://schemas.microsoft.com/office/drawing/2014/main" xmlns="" id="{02C15DA4-96A2-4F8C-BAA6-CE48402A83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234075"/>
                <a:ext cx="87071" cy="76204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2" name="Freeform 333">
                <a:extLst>
                  <a:ext uri="{FF2B5EF4-FFF2-40B4-BE49-F238E27FC236}">
                    <a16:creationId xmlns:a16="http://schemas.microsoft.com/office/drawing/2014/main" xmlns="" id="{DED62A99-A2B7-48B6-9F96-B56B5F348D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081335"/>
                <a:ext cx="87071" cy="76204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3" name="Freeform 913">
                <a:extLst>
                  <a:ext uri="{FF2B5EF4-FFF2-40B4-BE49-F238E27FC236}">
                    <a16:creationId xmlns:a16="http://schemas.microsoft.com/office/drawing/2014/main" xmlns="" id="{DE483567-456C-41F5-AE40-7B8319A586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9065" y="4081335"/>
                <a:ext cx="86747" cy="76204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4" name="Freeform 939">
                <a:extLst>
                  <a:ext uri="{FF2B5EF4-FFF2-40B4-BE49-F238E27FC236}">
                    <a16:creationId xmlns:a16="http://schemas.microsoft.com/office/drawing/2014/main" xmlns="" id="{7A9AC906-BEBF-4BFA-9A4B-1887DBA95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157539"/>
                <a:ext cx="87071" cy="76534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5" name="Freeform 965">
                <a:extLst>
                  <a:ext uri="{FF2B5EF4-FFF2-40B4-BE49-F238E27FC236}">
                    <a16:creationId xmlns:a16="http://schemas.microsoft.com/office/drawing/2014/main" xmlns="" id="{BA756F86-7544-49F5-A349-5F4436BEB7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5813" y="4234075"/>
                <a:ext cx="86747" cy="76204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6" name="Freeform 1010">
                <a:extLst>
                  <a:ext uri="{FF2B5EF4-FFF2-40B4-BE49-F238E27FC236}">
                    <a16:creationId xmlns:a16="http://schemas.microsoft.com/office/drawing/2014/main" xmlns="" id="{BDBC0CA9-253C-416C-8500-F6B1F46DB0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310279"/>
                <a:ext cx="87071" cy="76204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067E157-00A3-4FB2-BB83-4414FCC58052}"/>
              </a:ext>
            </a:extLst>
          </p:cNvPr>
          <p:cNvGrpSpPr/>
          <p:nvPr/>
        </p:nvGrpSpPr>
        <p:grpSpPr>
          <a:xfrm>
            <a:off x="8046190" y="3173882"/>
            <a:ext cx="264772" cy="1164805"/>
            <a:chOff x="6557897" y="2384894"/>
            <a:chExt cx="264772" cy="1164805"/>
          </a:xfrm>
        </p:grpSpPr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xmlns="" id="{0695337A-FBAA-4D1D-BB9A-4BEF26B3E40F}"/>
                </a:ext>
              </a:extLst>
            </p:cNvPr>
            <p:cNvCxnSpPr>
              <a:cxnSpLocks/>
            </p:cNvCxnSpPr>
            <p:nvPr/>
          </p:nvCxnSpPr>
          <p:spPr>
            <a:xfrm>
              <a:off x="6690285" y="2593729"/>
              <a:ext cx="0" cy="955970"/>
            </a:xfrm>
            <a:prstGeom prst="line">
              <a:avLst/>
            </a:prstGeom>
            <a:ln w="9525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6557897" y="2384894"/>
              <a:ext cx="264772" cy="244466"/>
              <a:chOff x="2971540" y="4081335"/>
              <a:chExt cx="261020" cy="305149"/>
            </a:xfrm>
          </p:grpSpPr>
          <p:sp>
            <p:nvSpPr>
              <p:cNvPr id="88" name="Freeform 234">
                <a:extLst>
                  <a:ext uri="{FF2B5EF4-FFF2-40B4-BE49-F238E27FC236}">
                    <a16:creationId xmlns:a16="http://schemas.microsoft.com/office/drawing/2014/main" xmlns="" id="{E06516B6-2AFD-46FE-BCC0-3C2DA9E477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8288" y="4157539"/>
                <a:ext cx="87071" cy="76534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89" name="Freeform 252">
                <a:extLst>
                  <a:ext uri="{FF2B5EF4-FFF2-40B4-BE49-F238E27FC236}">
                    <a16:creationId xmlns:a16="http://schemas.microsoft.com/office/drawing/2014/main" xmlns="" id="{86ABD2B4-A4FA-49D3-8860-2B7AB21F5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1540" y="4310280"/>
                <a:ext cx="86747" cy="76204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0" name="Freeform 274">
                <a:extLst>
                  <a:ext uri="{FF2B5EF4-FFF2-40B4-BE49-F238E27FC236}">
                    <a16:creationId xmlns:a16="http://schemas.microsoft.com/office/drawing/2014/main" xmlns="" id="{3514220B-F9BC-4E58-BFC9-97CC883039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234075"/>
                <a:ext cx="86747" cy="76204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1" name="Freeform 340">
                <a:extLst>
                  <a:ext uri="{FF2B5EF4-FFF2-40B4-BE49-F238E27FC236}">
                    <a16:creationId xmlns:a16="http://schemas.microsoft.com/office/drawing/2014/main" xmlns="" id="{D53EA489-21AE-4212-B14D-BFA36EBDB4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081335"/>
                <a:ext cx="86747" cy="76204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2" name="Freeform 914">
                <a:extLst>
                  <a:ext uri="{FF2B5EF4-FFF2-40B4-BE49-F238E27FC236}">
                    <a16:creationId xmlns:a16="http://schemas.microsoft.com/office/drawing/2014/main" xmlns="" id="{76B8EC91-726F-4240-86C9-1D32AD7189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1540" y="4081335"/>
                <a:ext cx="86747" cy="76204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3" name="Freeform 940">
                <a:extLst>
                  <a:ext uri="{FF2B5EF4-FFF2-40B4-BE49-F238E27FC236}">
                    <a16:creationId xmlns:a16="http://schemas.microsoft.com/office/drawing/2014/main" xmlns="" id="{8789995C-FAA9-4B1A-BF17-2A1C7FA44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157539"/>
                <a:ext cx="86747" cy="76534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4" name="Freeform 966">
                <a:extLst>
                  <a:ext uri="{FF2B5EF4-FFF2-40B4-BE49-F238E27FC236}">
                    <a16:creationId xmlns:a16="http://schemas.microsoft.com/office/drawing/2014/main" xmlns="" id="{AFC8B67E-64F5-43D5-8101-6EA066EC9E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8288" y="4234075"/>
                <a:ext cx="87071" cy="76204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5" name="Freeform 1016">
                <a:extLst>
                  <a:ext uri="{FF2B5EF4-FFF2-40B4-BE49-F238E27FC236}">
                    <a16:creationId xmlns:a16="http://schemas.microsoft.com/office/drawing/2014/main" xmlns="" id="{74E50662-1F7C-4AEB-92A5-C713588053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5076" y="4310279"/>
                <a:ext cx="86747" cy="76204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6" name="Freeform 236">
                <a:extLst>
                  <a:ext uri="{FF2B5EF4-FFF2-40B4-BE49-F238E27FC236}">
                    <a16:creationId xmlns:a16="http://schemas.microsoft.com/office/drawing/2014/main" xmlns="" id="{37E06C0D-625E-4CF8-8A50-30130D9F19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9065" y="4310280"/>
                <a:ext cx="86747" cy="76204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7" name="Freeform 238">
                <a:extLst>
                  <a:ext uri="{FF2B5EF4-FFF2-40B4-BE49-F238E27FC236}">
                    <a16:creationId xmlns:a16="http://schemas.microsoft.com/office/drawing/2014/main" xmlns="" id="{C23F0FC4-602E-40FB-9E04-9F1AD61C74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5812" y="4157539"/>
                <a:ext cx="86747" cy="76534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8" name="Freeform 280">
                <a:extLst>
                  <a:ext uri="{FF2B5EF4-FFF2-40B4-BE49-F238E27FC236}">
                    <a16:creationId xmlns:a16="http://schemas.microsoft.com/office/drawing/2014/main" xmlns="" id="{02C15DA4-96A2-4F8C-BAA6-CE48402A83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234075"/>
                <a:ext cx="87071" cy="76204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99" name="Freeform 333">
                <a:extLst>
                  <a:ext uri="{FF2B5EF4-FFF2-40B4-BE49-F238E27FC236}">
                    <a16:creationId xmlns:a16="http://schemas.microsoft.com/office/drawing/2014/main" xmlns="" id="{DED62A99-A2B7-48B6-9F96-B56B5F348D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081335"/>
                <a:ext cx="87071" cy="76204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0" name="Freeform 913">
                <a:extLst>
                  <a:ext uri="{FF2B5EF4-FFF2-40B4-BE49-F238E27FC236}">
                    <a16:creationId xmlns:a16="http://schemas.microsoft.com/office/drawing/2014/main" xmlns="" id="{DE483567-456C-41F5-AE40-7B8319A586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9065" y="4081335"/>
                <a:ext cx="86747" cy="76204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1" name="Freeform 939">
                <a:extLst>
                  <a:ext uri="{FF2B5EF4-FFF2-40B4-BE49-F238E27FC236}">
                    <a16:creationId xmlns:a16="http://schemas.microsoft.com/office/drawing/2014/main" xmlns="" id="{7A9AC906-BEBF-4BFA-9A4B-1887DBA95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157539"/>
                <a:ext cx="87071" cy="76534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2" name="Freeform 965">
                <a:extLst>
                  <a:ext uri="{FF2B5EF4-FFF2-40B4-BE49-F238E27FC236}">
                    <a16:creationId xmlns:a16="http://schemas.microsoft.com/office/drawing/2014/main" xmlns="" id="{BA756F86-7544-49F5-A349-5F4436BEB7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5813" y="4234075"/>
                <a:ext cx="86747" cy="76204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03" name="Freeform 1010">
                <a:extLst>
                  <a:ext uri="{FF2B5EF4-FFF2-40B4-BE49-F238E27FC236}">
                    <a16:creationId xmlns:a16="http://schemas.microsoft.com/office/drawing/2014/main" xmlns="" id="{BDBC0CA9-253C-416C-8500-F6B1F46DB0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2276" y="4310279"/>
                <a:ext cx="87071" cy="76204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51432" tIns="25716" rIns="51432" bIns="2571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0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0A2C6EC0-F045-440C-B1F4-DE9D6E6D281F}"/>
              </a:ext>
            </a:extLst>
          </p:cNvPr>
          <p:cNvSpPr txBox="1">
            <a:spLocks/>
          </p:cNvSpPr>
          <p:nvPr/>
        </p:nvSpPr>
        <p:spPr>
          <a:xfrm>
            <a:off x="2957697" y="4598794"/>
            <a:ext cx="801190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accent3"/>
                </a:solidFill>
              </a:rPr>
              <a:t>Rol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33434B3-65E0-467F-814E-C0A421440F47}"/>
              </a:ext>
            </a:extLst>
          </p:cNvPr>
          <p:cNvSpPr txBox="1">
            <a:spLocks/>
          </p:cNvSpPr>
          <p:nvPr/>
        </p:nvSpPr>
        <p:spPr>
          <a:xfrm>
            <a:off x="4027599" y="4947029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dirty="0"/>
              <a:t>Traine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3BFF559A-F24D-44C0-8AB7-5C4307C5BD67}"/>
              </a:ext>
            </a:extLst>
          </p:cNvPr>
          <p:cNvSpPr txBox="1">
            <a:spLocks/>
          </p:cNvSpPr>
          <p:nvPr/>
        </p:nvSpPr>
        <p:spPr>
          <a:xfrm>
            <a:off x="4027599" y="5295264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dirty="0"/>
              <a:t>Leader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4027599" y="3446441"/>
            <a:ext cx="1811951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dirty="0"/>
              <a:t>Led the design phase of the capability building modules and initial kick-off training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4027599" y="3167501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b="1" dirty="0">
                <a:solidFill>
                  <a:schemeClr val="accent3"/>
                </a:solidFill>
              </a:rPr>
              <a:t>Build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6FD3FFEC-8EE2-4E16-9D5F-0A26D793608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6460" t="12057" r="67950" b="53492"/>
          <a:stretch/>
        </p:blipFill>
        <p:spPr>
          <a:xfrm>
            <a:off x="4394837" y="4267688"/>
            <a:ext cx="1077472" cy="531160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320F9D1C-D27C-46E9-A71A-C8D7F2AB49A5}"/>
              </a:ext>
            </a:extLst>
          </p:cNvPr>
          <p:cNvSpPr txBox="1">
            <a:spLocks/>
          </p:cNvSpPr>
          <p:nvPr/>
        </p:nvSpPr>
        <p:spPr>
          <a:xfrm>
            <a:off x="6190934" y="4947029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dirty="0"/>
              <a:t>Supported leader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1741394A-5811-4345-897D-5AA9A7C37EE9}"/>
              </a:ext>
            </a:extLst>
          </p:cNvPr>
          <p:cNvSpPr txBox="1">
            <a:spLocks/>
          </p:cNvSpPr>
          <p:nvPr/>
        </p:nvSpPr>
        <p:spPr>
          <a:xfrm>
            <a:off x="6190934" y="5295264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dirty="0"/>
              <a:t>Coach</a:t>
            </a: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6190934" y="3446441"/>
            <a:ext cx="1811951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dirty="0"/>
              <a:t>Conducted ongoing training with front line leaders observing and assisting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6190934" y="3167501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b="1" dirty="0">
                <a:solidFill>
                  <a:schemeClr val="accent3"/>
                </a:solidFill>
              </a:rPr>
              <a:t>Operate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xmlns="" id="{CBA963E2-8351-4CC8-AEED-EBB506860A9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6840" t="12057" r="37570" b="53492"/>
          <a:stretch/>
        </p:blipFill>
        <p:spPr>
          <a:xfrm>
            <a:off x="6558172" y="4267688"/>
            <a:ext cx="1077472" cy="53116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76ECDD2-67C4-40CD-BEF4-7B39F4AFC43F}"/>
              </a:ext>
            </a:extLst>
          </p:cNvPr>
          <p:cNvSpPr txBox="1">
            <a:spLocks/>
          </p:cNvSpPr>
          <p:nvPr/>
        </p:nvSpPr>
        <p:spPr>
          <a:xfrm>
            <a:off x="8354267" y="4947029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dirty="0"/>
              <a:t>Independent leade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4194DF39-848B-463C-8E1A-434E7F2E83B9}"/>
              </a:ext>
            </a:extLst>
          </p:cNvPr>
          <p:cNvSpPr txBox="1">
            <a:spLocks/>
          </p:cNvSpPr>
          <p:nvPr/>
        </p:nvSpPr>
        <p:spPr>
          <a:xfrm>
            <a:off x="8354267" y="5295264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dirty="0"/>
              <a:t>Client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8354267" y="3446441"/>
            <a:ext cx="1811951" cy="8002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dirty="0"/>
              <a:t>Transferred the coaching to the front line managers and provided support as needed</a:t>
            </a: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8354267" y="3167501"/>
            <a:ext cx="1811951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b="1" dirty="0">
                <a:solidFill>
                  <a:schemeClr val="accent3"/>
                </a:solidFill>
              </a:rPr>
              <a:t>Transfer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xmlns="" id="{BD7C8AF3-3FD1-4DAD-AF09-29BAA8DFD58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77257" t="12057" r="5573" b="53492"/>
          <a:stretch/>
        </p:blipFill>
        <p:spPr>
          <a:xfrm>
            <a:off x="8666911" y="4267688"/>
            <a:ext cx="1186663" cy="531160"/>
          </a:xfrm>
          <a:prstGeom prst="rect">
            <a:avLst/>
          </a:prstGeom>
        </p:spPr>
      </p:pic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xmlns="" id="{331EE415-BB6E-4AA9-A5A5-C62081BBE120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957697" y="4872938"/>
            <a:ext cx="7208520" cy="0"/>
          </a:xfrm>
          <a:prstGeom prst="line">
            <a:avLst/>
          </a:prstGeom>
          <a:ln w="63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8397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/&gt;&lt;m_precDefaultDay&gt;&lt;m_bNumberIsYear val=&quot;0&quot;/&gt;&lt;m_strFormatTime&gt;%d&lt;/m_strFormatTime&gt;&lt;/m_precDefaultDay&gt;&lt;m_mruColor&gt;&lt;m_vecMRU length=&quot;8&quot;&gt;&lt;elem m_fUsage=&quot;4.46743846897143810000E+000&quot;&gt;&lt;m_msothmcolidx val=&quot;0&quot;/&gt;&lt;m_rgb r=&quot;cc&quot; g=&quot;cc&quot; b=&quot;cc&quot;/&gt;&lt;m_ppcolschidx tagver0=&quot;23004&quot; tagname0=&quot;m_ppcolschidxUNRECOGNIZED&quot; val=&quot;0&quot;/&gt;&lt;m_nBrightness val=&quot;0&quot;/&gt;&lt;/elem&gt;&lt;elem m_fUsage=&quot;1.31773637920294420000E+000&quot;&gt;&lt;m_msothmcolidx val=&quot;0&quot;/&gt;&lt;m_rgb r=&quot;0&quot; g=&quot;ad&quot; b=&quot;e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3a&quot; g=&quot;f0&quot; b=&quot;31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ee&quot; g=&quot;8c&quot; b=&quot;33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b&quot; g=&quot;0&quot; b=&quot;0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b&quot; g=&quot;f0&quot; b=&quot;26&quot;/&gt;&lt;m_ppcolschidx tagver0=&quot;23004&quot; tagname0=&quot;m_ppcolschidxUNRECOGNIZED&quot; val=&quot;0&quot;/&gt;&lt;m_nBrightness val=&quot;0&quot;/&gt;&lt;/elem&gt;&lt;elem m_fUsage=&quot;6.68072515182562050000E-001&quot;&gt;&lt;m_msothmcolidx val=&quot;0&quot;/&gt;&lt;m_rgb r=&quot;ef&quot; g=&quot;46&quot; b=&quot;32&quot;/&gt;&lt;m_ppcolschidx tagver0=&quot;23004&quot; tagname0=&quot;m_ppcolschidxUNRECOGNIZED&quot; val=&quot;0&quot;/&gt;&lt;m_nBrightness val=&quot;0&quot;/&gt;&lt;/elem&gt;&lt;elem m_fUsage=&quot;1.07752636643058290000E-002&quot;&gt;&lt;m_msothmcolidx val=&quot;0&quot;/&gt;&lt;m_rgb r=&quot;c0&quot; g=&quot;c0&quot; b=&quot;c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NEWNAMES" val="True"/>
  <p:tag name="MTBTACCENT" val="Accent3"/>
  <p:tag name="THINKCELLUNDODONOTDELETE" val="0"/>
  <p:tag name="PREVIOUSNAME" val="C:\Users\Anuradha Sarin\Documents\16 Case Codification process\0000_Golden Marketing and Sales_Cases\TTL015_Advanced analytics to drive growth in B2B sales_Capability Buildin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ohYzZwR1uVmJndHfRo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ZLVxfVSOu8.357fbHJt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aItXo0RpyDwZ91V1JgV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LgdUbPTiys3ySPDcbVM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U4iLX_Rie2MfpRbYYWg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QWCH6SmOQQ89acArv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56ujBPTlupr5G28pOL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CXMuW9T8.3gkC5ep3y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DEtQKFR4qqmMsH2RgkA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vAU.rqQ8u_wFxraN2N2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6AJ_qISnOgMAyiOUWDv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TLHlyMTAeHS7EbFsaL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82699691496183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826996914961839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82699691496183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10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3.xml><?xml version="1.0" encoding="utf-8"?>
<a:theme xmlns:a="http://schemas.openxmlformats.org/drawingml/2006/main" name="2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4.xml><?xml version="1.0" encoding="utf-8"?>
<a:theme xmlns:a="http://schemas.openxmlformats.org/drawingml/2006/main" name="3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5.xml><?xml version="1.0" encoding="utf-8"?>
<a:theme xmlns:a="http://schemas.openxmlformats.org/drawingml/2006/main" name="4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6.xml><?xml version="1.0" encoding="utf-8"?>
<a:theme xmlns:a="http://schemas.openxmlformats.org/drawingml/2006/main" name="5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7.xml><?xml version="1.0" encoding="utf-8"?>
<a:theme xmlns:a="http://schemas.openxmlformats.org/drawingml/2006/main" name="6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8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9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120</TotalTime>
  <Words>398</Words>
  <Application>Microsoft Macintosh PowerPoint</Application>
  <PresentationFormat>Custom</PresentationFormat>
  <Paragraphs>55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Georgia</vt:lpstr>
      <vt:lpstr>Times New Roman</vt:lpstr>
      <vt:lpstr>Arial</vt:lpstr>
      <vt:lpstr>Firm Format - English (US)</vt:lpstr>
      <vt:lpstr>1_Firm Format - English (US)</vt:lpstr>
      <vt:lpstr>2_Firm Format - English (US)</vt:lpstr>
      <vt:lpstr>3_Firm Format - English (US)</vt:lpstr>
      <vt:lpstr>4_Firm Format - English (US)</vt:lpstr>
      <vt:lpstr>5_Firm Format - English (US)</vt:lpstr>
      <vt:lpstr>6_Firm Format - English (US)</vt:lpstr>
      <vt:lpstr>Firm Format - template_Blue</vt:lpstr>
      <vt:lpstr>M&amp;S Theme</vt:lpstr>
      <vt:lpstr>Firm Format - template_Grey</vt:lpstr>
      <vt:lpstr>think-cell Slide</vt:lpstr>
      <vt:lpstr>Chart</vt:lpstr>
      <vt:lpstr>Advanced analytics to drive growth in B2B sales </vt:lpstr>
      <vt:lpstr>Used the analytics to identify better customer leads (and the customer’s revenue potential) and design sales routines and coverage model to increase focus on new business</vt:lpstr>
      <vt:lpstr>Pilot within 8 weeks with digital visualizations and McKinsey implementation support to prove analytics drive value – transitioned to client and scaled to 400+ sellers</vt:lpstr>
    </vt:vector>
  </TitlesOfParts>
  <Company>McK</Company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Jack Waldron</dc:creator>
  <cp:lastModifiedBy>Petra Vincent</cp:lastModifiedBy>
  <cp:revision>2880</cp:revision>
  <cp:lastPrinted>2016-03-15T18:28:56Z</cp:lastPrinted>
  <dcterms:created xsi:type="dcterms:W3CDTF">2015-11-02T16:52:12Z</dcterms:created>
  <dcterms:modified xsi:type="dcterms:W3CDTF">2019-05-22T18:1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